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9" r:id="rId2"/>
    <p:sldMasterId id="2147483692" r:id="rId3"/>
    <p:sldMasterId id="2147483703" r:id="rId4"/>
  </p:sldMasterIdLst>
  <p:notesMasterIdLst>
    <p:notesMasterId r:id="rId13"/>
  </p:notesMasterIdLst>
  <p:handoutMasterIdLst>
    <p:handoutMasterId r:id="rId14"/>
  </p:handoutMasterIdLst>
  <p:sldIdLst>
    <p:sldId id="1219" r:id="rId5"/>
    <p:sldId id="1193" r:id="rId6"/>
    <p:sldId id="1190" r:id="rId7"/>
    <p:sldId id="1186" r:id="rId8"/>
    <p:sldId id="1216" r:id="rId9"/>
    <p:sldId id="1187" r:id="rId10"/>
    <p:sldId id="1218" r:id="rId11"/>
    <p:sldId id="1215" r:id="rId12"/>
  </p:sldIdLst>
  <p:sldSz cx="12192000" cy="6858000"/>
  <p:notesSz cx="6797675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F386AE3-3A90-4281-A523-05F71F95E514}">
          <p14:sldIdLst>
            <p14:sldId id="1219"/>
            <p14:sldId id="1193"/>
            <p14:sldId id="1190"/>
            <p14:sldId id="1186"/>
            <p14:sldId id="1216"/>
            <p14:sldId id="1187"/>
            <p14:sldId id="1218"/>
            <p14:sldId id="121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ht, Jan" initials="HJ" lastIdx="3" clrIdx="0">
    <p:extLst>
      <p:ext uri="{19B8F6BF-5375-455C-9EA6-DF929625EA0E}">
        <p15:presenceInfo xmlns:p15="http://schemas.microsoft.com/office/powerpoint/2012/main" userId="S-1-5-21-1060284298-2077806209-725345543-20045" providerId="AD"/>
      </p:ext>
    </p:extLst>
  </p:cmAuthor>
  <p:cmAuthor id="2" name="Lempp, Matthias" initials="LM" lastIdx="0" clrIdx="1">
    <p:extLst>
      <p:ext uri="{19B8F6BF-5375-455C-9EA6-DF929625EA0E}">
        <p15:presenceInfo xmlns:p15="http://schemas.microsoft.com/office/powerpoint/2012/main" userId="S-1-5-21-1060284298-2077806209-725345543-36262" providerId="AD"/>
      </p:ext>
    </p:extLst>
  </p:cmAuthor>
  <p:cmAuthor id="3" name="Saage, Gabriela" initials="SG" lastIdx="3" clrIdx="2">
    <p:extLst>
      <p:ext uri="{19B8F6BF-5375-455C-9EA6-DF929625EA0E}">
        <p15:presenceInfo xmlns:p15="http://schemas.microsoft.com/office/powerpoint/2012/main" userId="S-1-5-21-1060284298-2077806209-725345543-12206" providerId="AD"/>
      </p:ext>
    </p:extLst>
  </p:cmAuthor>
  <p:cmAuthor id="4" name="Beichler, Johannes" initials="BJ" lastIdx="4" clrIdx="3">
    <p:extLst>
      <p:ext uri="{19B8F6BF-5375-455C-9EA6-DF929625EA0E}">
        <p15:presenceInfo xmlns:p15="http://schemas.microsoft.com/office/powerpoint/2012/main" userId="S-1-5-21-1060284298-2077806209-725345543-21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FDDB"/>
    <a:srgbClr val="F0FFDD"/>
    <a:srgbClr val="DCFEBA"/>
    <a:srgbClr val="E3FFC1"/>
    <a:srgbClr val="BF3818"/>
    <a:srgbClr val="FFCC99"/>
    <a:srgbClr val="004061"/>
    <a:srgbClr val="008000"/>
    <a:srgbClr val="3A6E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90" autoAdjust="0"/>
    <p:restoredTop sz="97295" autoAdjust="0"/>
  </p:normalViewPr>
  <p:slideViewPr>
    <p:cSldViewPr snapToGrid="0">
      <p:cViewPr varScale="1">
        <p:scale>
          <a:sx n="83" d="100"/>
          <a:sy n="83" d="100"/>
        </p:scale>
        <p:origin x="725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5053B1A9-9E3F-4660-B9D9-32D744FF9F64}" type="datetimeFigureOut">
              <a:rPr lang="de-DE" smtClean="0"/>
              <a:t>17.08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2C45AE22-FAB3-4140-9DD8-EFE0C4FB6AD8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2488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11419A23-06A9-462C-A61B-27A5A81DB70D}" type="datetimeFigureOut">
              <a:rPr lang="en-US" smtClean="0"/>
              <a:t>8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6"/>
            <a:ext cx="2945659" cy="49805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6"/>
            <a:ext cx="2945659" cy="49805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D6C6D06D-CC91-4A1E-8719-9F7654A9AD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401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12.emf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7.xml"/><Relationship Id="rId7" Type="http://schemas.openxmlformats.org/officeDocument/2006/relationships/image" Target="../media/image4.jpg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9.xml"/><Relationship Id="rId7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946" name="think-cell Slide" r:id="rId5" imgW="442" imgH="440" progId="TCLayout.ActiveDocument.1">
                  <p:embed/>
                </p:oleObj>
              </mc:Choice>
              <mc:Fallback>
                <p:oleObj name="think-cell Slide" r:id="rId5" imgW="442" imgH="44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0" y="-4324"/>
            <a:ext cx="12192000" cy="6857998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90575" y="3323010"/>
            <a:ext cx="5928852" cy="1126896"/>
          </a:xfrm>
          <a:prstGeom prst="rect">
            <a:avLst/>
          </a:prstGeo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noProof="0" dirty="0" smtClean="0"/>
              <a:t>MASTERTITELFORMAT </a:t>
            </a:r>
            <a:br>
              <a:rPr lang="de-DE" noProof="0" dirty="0" smtClean="0"/>
            </a:br>
            <a:r>
              <a:rPr lang="de-DE" noProof="0" dirty="0" smtClean="0"/>
              <a:t>BEARBEITEN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16716" y="4520026"/>
            <a:ext cx="5476568" cy="6061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pPr lvl="0"/>
            <a:r>
              <a:rPr lang="de-DE" noProof="0" dirty="0" smtClean="0"/>
              <a:t>Monat XXXX</a:t>
            </a:r>
            <a:endParaRPr lang="de-DE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8003" y="1407600"/>
            <a:ext cx="2753028" cy="1836000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0" y="6598809"/>
            <a:ext cx="34538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bg1"/>
                </a:solidFill>
              </a:rPr>
              <a:t>ADVANCED</a:t>
            </a:r>
            <a:r>
              <a:rPr lang="de-DE" sz="1200" b="1" baseline="0" dirty="0" smtClean="0">
                <a:solidFill>
                  <a:schemeClr val="bg1"/>
                </a:solidFill>
              </a:rPr>
              <a:t> MATERIALS – THE KEY TO PROGRESS 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12" name="Rechteck 10"/>
          <p:cNvSpPr/>
          <p:nvPr userDrawn="1"/>
        </p:nvSpPr>
        <p:spPr>
          <a:xfrm>
            <a:off x="10427071" y="6598809"/>
            <a:ext cx="18301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bg1"/>
                </a:solidFill>
              </a:rPr>
              <a:t>COMPANY CONFIDENTIAL</a:t>
            </a:r>
            <a:endParaRPr lang="de-DE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3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rafik 46">
            <a:extLst>
              <a:ext uri="{FF2B5EF4-FFF2-40B4-BE49-F238E27FC236}">
                <a16:creationId xmlns:a16="http://schemas.microsoft.com/office/drawing/2014/main" id="{701B1F34-DC43-46D3-BFDD-871390D62F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45" b="784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Rechteck 22"/>
          <p:cNvSpPr/>
          <p:nvPr userDrawn="1"/>
        </p:nvSpPr>
        <p:spPr>
          <a:xfrm>
            <a:off x="19090" y="0"/>
            <a:ext cx="12192000" cy="6858000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975D307-C802-4070-869E-C140D8B6A425}"/>
              </a:ext>
            </a:extLst>
          </p:cNvPr>
          <p:cNvGrpSpPr/>
          <p:nvPr userDrawn="1"/>
        </p:nvGrpSpPr>
        <p:grpSpPr>
          <a:xfrm>
            <a:off x="5072083" y="1554745"/>
            <a:ext cx="2324166" cy="1374950"/>
            <a:chOff x="4785787" y="2657849"/>
            <a:chExt cx="1587357" cy="939062"/>
          </a:xfrm>
          <a:solidFill>
            <a:schemeClr val="bg1"/>
          </a:solidFill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33B56F59-7B4F-4A0A-B97D-251E8A36DFF3}"/>
                </a:ext>
              </a:extLst>
            </p:cNvPr>
            <p:cNvSpPr/>
            <p:nvPr/>
          </p:nvSpPr>
          <p:spPr>
            <a:xfrm>
              <a:off x="5067787" y="2657849"/>
              <a:ext cx="817800" cy="733200"/>
            </a:xfrm>
            <a:custGeom>
              <a:avLst/>
              <a:gdLst>
                <a:gd name="connsiteX0" fmla="*/ 100489 w 276225"/>
                <a:gd name="connsiteY0" fmla="*/ 167164 h 247650"/>
                <a:gd name="connsiteX1" fmla="*/ 140494 w 276225"/>
                <a:gd name="connsiteY1" fmla="*/ 86201 h 247650"/>
                <a:gd name="connsiteX2" fmla="*/ 178594 w 276225"/>
                <a:gd name="connsiteY2" fmla="*/ 167164 h 247650"/>
                <a:gd name="connsiteX3" fmla="*/ 100489 w 276225"/>
                <a:gd name="connsiteY3" fmla="*/ 167164 h 247650"/>
                <a:gd name="connsiteX4" fmla="*/ 273844 w 276225"/>
                <a:gd name="connsiteY4" fmla="*/ 242411 h 247650"/>
                <a:gd name="connsiteX5" fmla="*/ 272891 w 276225"/>
                <a:gd name="connsiteY5" fmla="*/ 239554 h 247650"/>
                <a:gd name="connsiteX6" fmla="*/ 229076 w 276225"/>
                <a:gd name="connsiteY6" fmla="*/ 150019 h 247650"/>
                <a:gd name="connsiteX7" fmla="*/ 170974 w 276225"/>
                <a:gd name="connsiteY7" fmla="*/ 30004 h 247650"/>
                <a:gd name="connsiteX8" fmla="*/ 159544 w 276225"/>
                <a:gd name="connsiteY8" fmla="*/ 7144 h 247650"/>
                <a:gd name="connsiteX9" fmla="*/ 124301 w 276225"/>
                <a:gd name="connsiteY9" fmla="*/ 7144 h 247650"/>
                <a:gd name="connsiteX10" fmla="*/ 123349 w 276225"/>
                <a:gd name="connsiteY10" fmla="*/ 9049 h 247650"/>
                <a:gd name="connsiteX11" fmla="*/ 57626 w 276225"/>
                <a:gd name="connsiteY11" fmla="*/ 140494 h 247650"/>
                <a:gd name="connsiteX12" fmla="*/ 8096 w 276225"/>
                <a:gd name="connsiteY12" fmla="*/ 240506 h 247650"/>
                <a:gd name="connsiteX13" fmla="*/ 7144 w 276225"/>
                <a:gd name="connsiteY13" fmla="*/ 243364 h 247650"/>
                <a:gd name="connsiteX14" fmla="*/ 8096 w 276225"/>
                <a:gd name="connsiteY14" fmla="*/ 243364 h 247650"/>
                <a:gd name="connsiteX15" fmla="*/ 63341 w 276225"/>
                <a:gd name="connsiteY15" fmla="*/ 243364 h 247650"/>
                <a:gd name="connsiteX16" fmla="*/ 65246 w 276225"/>
                <a:gd name="connsiteY16" fmla="*/ 241459 h 247650"/>
                <a:gd name="connsiteX17" fmla="*/ 75724 w 276225"/>
                <a:gd name="connsiteY17" fmla="*/ 221456 h 247650"/>
                <a:gd name="connsiteX18" fmla="*/ 78581 w 276225"/>
                <a:gd name="connsiteY18" fmla="*/ 219551 h 247650"/>
                <a:gd name="connsiteX19" fmla="*/ 203359 w 276225"/>
                <a:gd name="connsiteY19" fmla="*/ 219551 h 247650"/>
                <a:gd name="connsiteX20" fmla="*/ 206216 w 276225"/>
                <a:gd name="connsiteY20" fmla="*/ 221456 h 247650"/>
                <a:gd name="connsiteX21" fmla="*/ 215741 w 276225"/>
                <a:gd name="connsiteY21" fmla="*/ 241459 h 247650"/>
                <a:gd name="connsiteX22" fmla="*/ 218599 w 276225"/>
                <a:gd name="connsiteY22" fmla="*/ 243364 h 247650"/>
                <a:gd name="connsiteX23" fmla="*/ 272891 w 276225"/>
                <a:gd name="connsiteY23" fmla="*/ 243364 h 247650"/>
                <a:gd name="connsiteX24" fmla="*/ 273844 w 276225"/>
                <a:gd name="connsiteY24" fmla="*/ 242411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6225" h="247650">
                  <a:moveTo>
                    <a:pt x="100489" y="167164"/>
                  </a:moveTo>
                  <a:cubicBezTo>
                    <a:pt x="113824" y="140494"/>
                    <a:pt x="127159" y="113824"/>
                    <a:pt x="140494" y="86201"/>
                  </a:cubicBezTo>
                  <a:cubicBezTo>
                    <a:pt x="153829" y="112871"/>
                    <a:pt x="166211" y="139541"/>
                    <a:pt x="178594" y="167164"/>
                  </a:cubicBezTo>
                  <a:lnTo>
                    <a:pt x="100489" y="167164"/>
                  </a:lnTo>
                  <a:close/>
                  <a:moveTo>
                    <a:pt x="273844" y="242411"/>
                  </a:moveTo>
                  <a:cubicBezTo>
                    <a:pt x="272891" y="241459"/>
                    <a:pt x="272891" y="240506"/>
                    <a:pt x="272891" y="239554"/>
                  </a:cubicBezTo>
                  <a:cubicBezTo>
                    <a:pt x="258604" y="210026"/>
                    <a:pt x="244316" y="179546"/>
                    <a:pt x="229076" y="150019"/>
                  </a:cubicBezTo>
                  <a:cubicBezTo>
                    <a:pt x="210026" y="110014"/>
                    <a:pt x="190024" y="70009"/>
                    <a:pt x="170974" y="30004"/>
                  </a:cubicBezTo>
                  <a:cubicBezTo>
                    <a:pt x="167164" y="22384"/>
                    <a:pt x="163354" y="14764"/>
                    <a:pt x="159544" y="7144"/>
                  </a:cubicBezTo>
                  <a:lnTo>
                    <a:pt x="124301" y="7144"/>
                  </a:lnTo>
                  <a:cubicBezTo>
                    <a:pt x="124301" y="8096"/>
                    <a:pt x="123349" y="9049"/>
                    <a:pt x="123349" y="9049"/>
                  </a:cubicBezTo>
                  <a:cubicBezTo>
                    <a:pt x="101441" y="52864"/>
                    <a:pt x="79534" y="96679"/>
                    <a:pt x="57626" y="140494"/>
                  </a:cubicBezTo>
                  <a:cubicBezTo>
                    <a:pt x="41434" y="173831"/>
                    <a:pt x="24289" y="207169"/>
                    <a:pt x="8096" y="240506"/>
                  </a:cubicBezTo>
                  <a:cubicBezTo>
                    <a:pt x="8096" y="241459"/>
                    <a:pt x="7144" y="242411"/>
                    <a:pt x="7144" y="243364"/>
                  </a:cubicBezTo>
                  <a:cubicBezTo>
                    <a:pt x="7144" y="243364"/>
                    <a:pt x="8096" y="243364"/>
                    <a:pt x="8096" y="243364"/>
                  </a:cubicBezTo>
                  <a:cubicBezTo>
                    <a:pt x="26194" y="243364"/>
                    <a:pt x="45244" y="243364"/>
                    <a:pt x="63341" y="243364"/>
                  </a:cubicBezTo>
                  <a:cubicBezTo>
                    <a:pt x="64294" y="243364"/>
                    <a:pt x="65246" y="242411"/>
                    <a:pt x="65246" y="241459"/>
                  </a:cubicBezTo>
                  <a:cubicBezTo>
                    <a:pt x="69056" y="234791"/>
                    <a:pt x="71914" y="228124"/>
                    <a:pt x="75724" y="221456"/>
                  </a:cubicBezTo>
                  <a:cubicBezTo>
                    <a:pt x="76676" y="220504"/>
                    <a:pt x="76676" y="219551"/>
                    <a:pt x="78581" y="219551"/>
                  </a:cubicBezTo>
                  <a:cubicBezTo>
                    <a:pt x="120491" y="219551"/>
                    <a:pt x="161449" y="219551"/>
                    <a:pt x="203359" y="219551"/>
                  </a:cubicBezTo>
                  <a:cubicBezTo>
                    <a:pt x="204311" y="219551"/>
                    <a:pt x="205264" y="219551"/>
                    <a:pt x="206216" y="221456"/>
                  </a:cubicBezTo>
                  <a:cubicBezTo>
                    <a:pt x="209074" y="228124"/>
                    <a:pt x="212884" y="234791"/>
                    <a:pt x="215741" y="241459"/>
                  </a:cubicBezTo>
                  <a:cubicBezTo>
                    <a:pt x="216694" y="242411"/>
                    <a:pt x="217646" y="243364"/>
                    <a:pt x="218599" y="243364"/>
                  </a:cubicBezTo>
                  <a:cubicBezTo>
                    <a:pt x="236696" y="243364"/>
                    <a:pt x="254794" y="243364"/>
                    <a:pt x="272891" y="243364"/>
                  </a:cubicBezTo>
                  <a:cubicBezTo>
                    <a:pt x="271939" y="242411"/>
                    <a:pt x="272891" y="242411"/>
                    <a:pt x="273844" y="24241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F97DDC0-E70C-4A8F-8326-3B2D521E8926}"/>
                </a:ext>
              </a:extLst>
            </p:cNvPr>
            <p:cNvSpPr/>
            <p:nvPr/>
          </p:nvSpPr>
          <p:spPr>
            <a:xfrm>
              <a:off x="4788609" y="2657849"/>
              <a:ext cx="535800" cy="733200"/>
            </a:xfrm>
            <a:custGeom>
              <a:avLst/>
              <a:gdLst>
                <a:gd name="connsiteX0" fmla="*/ 180499 w 180975"/>
                <a:gd name="connsiteY0" fmla="*/ 7144 h 247650"/>
                <a:gd name="connsiteX1" fmla="*/ 124301 w 180975"/>
                <a:gd name="connsiteY1" fmla="*/ 7144 h 247650"/>
                <a:gd name="connsiteX2" fmla="*/ 107156 w 180975"/>
                <a:gd name="connsiteY2" fmla="*/ 40481 h 247650"/>
                <a:gd name="connsiteX3" fmla="*/ 61436 w 180975"/>
                <a:gd name="connsiteY3" fmla="*/ 131921 h 247650"/>
                <a:gd name="connsiteX4" fmla="*/ 60484 w 180975"/>
                <a:gd name="connsiteY4" fmla="*/ 133826 h 247650"/>
                <a:gd name="connsiteX5" fmla="*/ 59531 w 180975"/>
                <a:gd name="connsiteY5" fmla="*/ 133826 h 247650"/>
                <a:gd name="connsiteX6" fmla="*/ 59531 w 180975"/>
                <a:gd name="connsiteY6" fmla="*/ 123349 h 247650"/>
                <a:gd name="connsiteX7" fmla="*/ 58579 w 180975"/>
                <a:gd name="connsiteY7" fmla="*/ 63341 h 247650"/>
                <a:gd name="connsiteX8" fmla="*/ 57626 w 180975"/>
                <a:gd name="connsiteY8" fmla="*/ 10001 h 247650"/>
                <a:gd name="connsiteX9" fmla="*/ 57626 w 180975"/>
                <a:gd name="connsiteY9" fmla="*/ 7144 h 247650"/>
                <a:gd name="connsiteX10" fmla="*/ 7144 w 180975"/>
                <a:gd name="connsiteY10" fmla="*/ 7144 h 247650"/>
                <a:gd name="connsiteX11" fmla="*/ 7144 w 180975"/>
                <a:gd name="connsiteY11" fmla="*/ 9049 h 247650"/>
                <a:gd name="connsiteX12" fmla="*/ 7144 w 180975"/>
                <a:gd name="connsiteY12" fmla="*/ 240506 h 247650"/>
                <a:gd name="connsiteX13" fmla="*/ 7144 w 180975"/>
                <a:gd name="connsiteY13" fmla="*/ 242411 h 247650"/>
                <a:gd name="connsiteX14" fmla="*/ 8096 w 180975"/>
                <a:gd name="connsiteY14" fmla="*/ 242411 h 247650"/>
                <a:gd name="connsiteX15" fmla="*/ 62389 w 180975"/>
                <a:gd name="connsiteY15" fmla="*/ 242411 h 247650"/>
                <a:gd name="connsiteX16" fmla="*/ 64294 w 180975"/>
                <a:gd name="connsiteY16" fmla="*/ 240506 h 247650"/>
                <a:gd name="connsiteX17" fmla="*/ 111919 w 180975"/>
                <a:gd name="connsiteY17" fmla="*/ 144304 h 247650"/>
                <a:gd name="connsiteX18" fmla="*/ 180499 w 180975"/>
                <a:gd name="connsiteY18" fmla="*/ 714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0975" h="247650">
                  <a:moveTo>
                    <a:pt x="180499" y="7144"/>
                  </a:moveTo>
                  <a:lnTo>
                    <a:pt x="124301" y="7144"/>
                  </a:lnTo>
                  <a:cubicBezTo>
                    <a:pt x="118586" y="18574"/>
                    <a:pt x="112871" y="29051"/>
                    <a:pt x="107156" y="40481"/>
                  </a:cubicBezTo>
                  <a:cubicBezTo>
                    <a:pt x="91916" y="70961"/>
                    <a:pt x="76676" y="101441"/>
                    <a:pt x="61436" y="131921"/>
                  </a:cubicBezTo>
                  <a:cubicBezTo>
                    <a:pt x="61436" y="132874"/>
                    <a:pt x="60484" y="133826"/>
                    <a:pt x="60484" y="133826"/>
                  </a:cubicBezTo>
                  <a:cubicBezTo>
                    <a:pt x="60484" y="133826"/>
                    <a:pt x="59531" y="133826"/>
                    <a:pt x="59531" y="133826"/>
                  </a:cubicBezTo>
                  <a:cubicBezTo>
                    <a:pt x="59531" y="130016"/>
                    <a:pt x="59531" y="127159"/>
                    <a:pt x="59531" y="123349"/>
                  </a:cubicBezTo>
                  <a:cubicBezTo>
                    <a:pt x="59531" y="103346"/>
                    <a:pt x="58579" y="83344"/>
                    <a:pt x="58579" y="63341"/>
                  </a:cubicBezTo>
                  <a:cubicBezTo>
                    <a:pt x="58579" y="45244"/>
                    <a:pt x="57626" y="28099"/>
                    <a:pt x="57626" y="10001"/>
                  </a:cubicBezTo>
                  <a:cubicBezTo>
                    <a:pt x="57626" y="9049"/>
                    <a:pt x="57626" y="8096"/>
                    <a:pt x="57626" y="7144"/>
                  </a:cubicBezTo>
                  <a:lnTo>
                    <a:pt x="7144" y="7144"/>
                  </a:lnTo>
                  <a:cubicBezTo>
                    <a:pt x="7144" y="8096"/>
                    <a:pt x="7144" y="8096"/>
                    <a:pt x="7144" y="9049"/>
                  </a:cubicBezTo>
                  <a:cubicBezTo>
                    <a:pt x="7144" y="86201"/>
                    <a:pt x="7144" y="163354"/>
                    <a:pt x="7144" y="240506"/>
                  </a:cubicBezTo>
                  <a:cubicBezTo>
                    <a:pt x="7144" y="241459"/>
                    <a:pt x="7144" y="242411"/>
                    <a:pt x="7144" y="242411"/>
                  </a:cubicBezTo>
                  <a:cubicBezTo>
                    <a:pt x="7144" y="242411"/>
                    <a:pt x="7144" y="242411"/>
                    <a:pt x="8096" y="242411"/>
                  </a:cubicBezTo>
                  <a:cubicBezTo>
                    <a:pt x="26194" y="242411"/>
                    <a:pt x="44291" y="242411"/>
                    <a:pt x="62389" y="242411"/>
                  </a:cubicBezTo>
                  <a:cubicBezTo>
                    <a:pt x="63341" y="242411"/>
                    <a:pt x="64294" y="241459"/>
                    <a:pt x="64294" y="240506"/>
                  </a:cubicBezTo>
                  <a:cubicBezTo>
                    <a:pt x="80486" y="208121"/>
                    <a:pt x="96679" y="175736"/>
                    <a:pt x="111919" y="144304"/>
                  </a:cubicBezTo>
                  <a:cubicBezTo>
                    <a:pt x="135731" y="98584"/>
                    <a:pt x="157639" y="52864"/>
                    <a:pt x="180499" y="714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9B488CC-C310-4F50-8184-3EF9AA151FE8}"/>
                </a:ext>
              </a:extLst>
            </p:cNvPr>
            <p:cNvSpPr/>
            <p:nvPr/>
          </p:nvSpPr>
          <p:spPr>
            <a:xfrm>
              <a:off x="5697256" y="2657849"/>
              <a:ext cx="507600" cy="733200"/>
            </a:xfrm>
            <a:custGeom>
              <a:avLst/>
              <a:gdLst>
                <a:gd name="connsiteX0" fmla="*/ 90759 w 171450"/>
                <a:gd name="connsiteY0" fmla="*/ 224314 h 247650"/>
                <a:gd name="connsiteX1" fmla="*/ 105046 w 171450"/>
                <a:gd name="connsiteY1" fmla="*/ 238601 h 247650"/>
                <a:gd name="connsiteX2" fmla="*/ 125049 w 171450"/>
                <a:gd name="connsiteY2" fmla="*/ 242411 h 247650"/>
                <a:gd name="connsiteX3" fmla="*/ 166006 w 171450"/>
                <a:gd name="connsiteY3" fmla="*/ 242411 h 247650"/>
                <a:gd name="connsiteX4" fmla="*/ 167911 w 171450"/>
                <a:gd name="connsiteY4" fmla="*/ 242411 h 247650"/>
                <a:gd name="connsiteX5" fmla="*/ 167911 w 171450"/>
                <a:gd name="connsiteY5" fmla="*/ 190024 h 247650"/>
                <a:gd name="connsiteX6" fmla="*/ 166959 w 171450"/>
                <a:gd name="connsiteY6" fmla="*/ 190024 h 247650"/>
                <a:gd name="connsiteX7" fmla="*/ 145051 w 171450"/>
                <a:gd name="connsiteY7" fmla="*/ 190024 h 247650"/>
                <a:gd name="connsiteX8" fmla="*/ 129811 w 171450"/>
                <a:gd name="connsiteY8" fmla="*/ 180499 h 247650"/>
                <a:gd name="connsiteX9" fmla="*/ 78376 w 171450"/>
                <a:gd name="connsiteY9" fmla="*/ 72866 h 247650"/>
                <a:gd name="connsiteX10" fmla="*/ 75519 w 171450"/>
                <a:gd name="connsiteY10" fmla="*/ 66199 h 247650"/>
                <a:gd name="connsiteX11" fmla="*/ 79329 w 171450"/>
                <a:gd name="connsiteY11" fmla="*/ 59531 h 247650"/>
                <a:gd name="connsiteX12" fmla="*/ 86949 w 171450"/>
                <a:gd name="connsiteY12" fmla="*/ 58579 h 247650"/>
                <a:gd name="connsiteX13" fmla="*/ 165054 w 171450"/>
                <a:gd name="connsiteY13" fmla="*/ 58579 h 247650"/>
                <a:gd name="connsiteX14" fmla="*/ 167911 w 171450"/>
                <a:gd name="connsiteY14" fmla="*/ 58579 h 247650"/>
                <a:gd name="connsiteX15" fmla="*/ 167911 w 171450"/>
                <a:gd name="connsiteY15" fmla="*/ 7144 h 247650"/>
                <a:gd name="connsiteX16" fmla="*/ 38371 w 171450"/>
                <a:gd name="connsiteY16" fmla="*/ 7144 h 247650"/>
                <a:gd name="connsiteX17" fmla="*/ 31704 w 171450"/>
                <a:gd name="connsiteY17" fmla="*/ 8096 h 247650"/>
                <a:gd name="connsiteX18" fmla="*/ 7891 w 171450"/>
                <a:gd name="connsiteY18" fmla="*/ 30004 h 247650"/>
                <a:gd name="connsiteX19" fmla="*/ 11701 w 171450"/>
                <a:gd name="connsiteY19" fmla="*/ 56674 h 247650"/>
                <a:gd name="connsiteX20" fmla="*/ 90759 w 171450"/>
                <a:gd name="connsiteY20" fmla="*/ 22431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1450" h="247650">
                  <a:moveTo>
                    <a:pt x="90759" y="224314"/>
                  </a:moveTo>
                  <a:cubicBezTo>
                    <a:pt x="93616" y="230981"/>
                    <a:pt x="98379" y="235744"/>
                    <a:pt x="105046" y="238601"/>
                  </a:cubicBezTo>
                  <a:cubicBezTo>
                    <a:pt x="111714" y="241459"/>
                    <a:pt x="118381" y="242411"/>
                    <a:pt x="125049" y="242411"/>
                  </a:cubicBezTo>
                  <a:cubicBezTo>
                    <a:pt x="138384" y="242411"/>
                    <a:pt x="151719" y="242411"/>
                    <a:pt x="166006" y="242411"/>
                  </a:cubicBezTo>
                  <a:cubicBezTo>
                    <a:pt x="166959" y="242411"/>
                    <a:pt x="166959" y="242411"/>
                    <a:pt x="167911" y="242411"/>
                  </a:cubicBezTo>
                  <a:lnTo>
                    <a:pt x="167911" y="190024"/>
                  </a:lnTo>
                  <a:cubicBezTo>
                    <a:pt x="166959" y="190024"/>
                    <a:pt x="166959" y="190024"/>
                    <a:pt x="166959" y="190024"/>
                  </a:cubicBezTo>
                  <a:cubicBezTo>
                    <a:pt x="159339" y="190024"/>
                    <a:pt x="152671" y="190024"/>
                    <a:pt x="145051" y="190024"/>
                  </a:cubicBezTo>
                  <a:cubicBezTo>
                    <a:pt x="137431" y="190024"/>
                    <a:pt x="132669" y="187166"/>
                    <a:pt x="129811" y="180499"/>
                  </a:cubicBezTo>
                  <a:cubicBezTo>
                    <a:pt x="112666" y="144304"/>
                    <a:pt x="95521" y="109061"/>
                    <a:pt x="78376" y="72866"/>
                  </a:cubicBezTo>
                  <a:cubicBezTo>
                    <a:pt x="77424" y="70961"/>
                    <a:pt x="76471" y="69056"/>
                    <a:pt x="75519" y="66199"/>
                  </a:cubicBezTo>
                  <a:cubicBezTo>
                    <a:pt x="74566" y="63341"/>
                    <a:pt x="75519" y="60484"/>
                    <a:pt x="79329" y="59531"/>
                  </a:cubicBezTo>
                  <a:cubicBezTo>
                    <a:pt x="81234" y="58579"/>
                    <a:pt x="84091" y="58579"/>
                    <a:pt x="86949" y="58579"/>
                  </a:cubicBezTo>
                  <a:cubicBezTo>
                    <a:pt x="112666" y="58579"/>
                    <a:pt x="139336" y="58579"/>
                    <a:pt x="165054" y="58579"/>
                  </a:cubicBezTo>
                  <a:lnTo>
                    <a:pt x="167911" y="58579"/>
                  </a:lnTo>
                  <a:lnTo>
                    <a:pt x="167911" y="7144"/>
                  </a:lnTo>
                  <a:lnTo>
                    <a:pt x="38371" y="7144"/>
                  </a:lnTo>
                  <a:cubicBezTo>
                    <a:pt x="36466" y="7144"/>
                    <a:pt x="33609" y="8096"/>
                    <a:pt x="31704" y="8096"/>
                  </a:cubicBezTo>
                  <a:cubicBezTo>
                    <a:pt x="19321" y="10954"/>
                    <a:pt x="10749" y="17621"/>
                    <a:pt x="7891" y="30004"/>
                  </a:cubicBezTo>
                  <a:cubicBezTo>
                    <a:pt x="5986" y="39529"/>
                    <a:pt x="7891" y="48101"/>
                    <a:pt x="11701" y="56674"/>
                  </a:cubicBezTo>
                  <a:cubicBezTo>
                    <a:pt x="38371" y="112871"/>
                    <a:pt x="64089" y="168116"/>
                    <a:pt x="90759" y="22431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84A6A1B4-9D5B-4392-AA23-AC3F882C06D0}"/>
                </a:ext>
              </a:extLst>
            </p:cNvPr>
            <p:cNvSpPr/>
            <p:nvPr/>
          </p:nvSpPr>
          <p:spPr>
            <a:xfrm>
              <a:off x="5062147" y="3424889"/>
              <a:ext cx="84600" cy="169200"/>
            </a:xfrm>
            <a:custGeom>
              <a:avLst/>
              <a:gdLst>
                <a:gd name="connsiteX0" fmla="*/ 21431 w 28575"/>
                <a:gd name="connsiteY0" fmla="*/ 8096 h 57150"/>
                <a:gd name="connsiteX1" fmla="*/ 21431 w 28575"/>
                <a:gd name="connsiteY1" fmla="*/ 10954 h 57150"/>
                <a:gd name="connsiteX2" fmla="*/ 21431 w 28575"/>
                <a:gd name="connsiteY2" fmla="*/ 40481 h 57150"/>
                <a:gd name="connsiteX3" fmla="*/ 21431 w 28575"/>
                <a:gd name="connsiteY3" fmla="*/ 43339 h 57150"/>
                <a:gd name="connsiteX4" fmla="*/ 17621 w 28575"/>
                <a:gd name="connsiteY4" fmla="*/ 46196 h 57150"/>
                <a:gd name="connsiteX5" fmla="*/ 13811 w 28575"/>
                <a:gd name="connsiteY5" fmla="*/ 43339 h 57150"/>
                <a:gd name="connsiteX6" fmla="*/ 13811 w 28575"/>
                <a:gd name="connsiteY6" fmla="*/ 40481 h 57150"/>
                <a:gd name="connsiteX7" fmla="*/ 13811 w 28575"/>
                <a:gd name="connsiteY7" fmla="*/ 10001 h 57150"/>
                <a:gd name="connsiteX8" fmla="*/ 13811 w 28575"/>
                <a:gd name="connsiteY8" fmla="*/ 7144 h 57150"/>
                <a:gd name="connsiteX9" fmla="*/ 7144 w 28575"/>
                <a:gd name="connsiteY9" fmla="*/ 7144 h 57150"/>
                <a:gd name="connsiteX10" fmla="*/ 7144 w 28575"/>
                <a:gd name="connsiteY10" fmla="*/ 8096 h 57150"/>
                <a:gd name="connsiteX11" fmla="*/ 7144 w 28575"/>
                <a:gd name="connsiteY11" fmla="*/ 41434 h 57150"/>
                <a:gd name="connsiteX12" fmla="*/ 13811 w 28575"/>
                <a:gd name="connsiteY12" fmla="*/ 52864 h 57150"/>
                <a:gd name="connsiteX13" fmla="*/ 20479 w 28575"/>
                <a:gd name="connsiteY13" fmla="*/ 52864 h 57150"/>
                <a:gd name="connsiteX14" fmla="*/ 27146 w 28575"/>
                <a:gd name="connsiteY14" fmla="*/ 42386 h 57150"/>
                <a:gd name="connsiteX15" fmla="*/ 27146 w 28575"/>
                <a:gd name="connsiteY15" fmla="*/ 9049 h 57150"/>
                <a:gd name="connsiteX16" fmla="*/ 27146 w 28575"/>
                <a:gd name="connsiteY16" fmla="*/ 8096 h 57150"/>
                <a:gd name="connsiteX17" fmla="*/ 21431 w 28575"/>
                <a:gd name="connsiteY17" fmla="*/ 809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57150">
                  <a:moveTo>
                    <a:pt x="21431" y="8096"/>
                  </a:moveTo>
                  <a:lnTo>
                    <a:pt x="21431" y="10954"/>
                  </a:lnTo>
                  <a:cubicBezTo>
                    <a:pt x="21431" y="20479"/>
                    <a:pt x="21431" y="30956"/>
                    <a:pt x="21431" y="40481"/>
                  </a:cubicBezTo>
                  <a:cubicBezTo>
                    <a:pt x="21431" y="41434"/>
                    <a:pt x="21431" y="42386"/>
                    <a:pt x="21431" y="43339"/>
                  </a:cubicBezTo>
                  <a:cubicBezTo>
                    <a:pt x="21431" y="45244"/>
                    <a:pt x="19526" y="46196"/>
                    <a:pt x="17621" y="46196"/>
                  </a:cubicBezTo>
                  <a:cubicBezTo>
                    <a:pt x="15716" y="46196"/>
                    <a:pt x="13811" y="45244"/>
                    <a:pt x="13811" y="43339"/>
                  </a:cubicBezTo>
                  <a:cubicBezTo>
                    <a:pt x="13811" y="42386"/>
                    <a:pt x="13811" y="41434"/>
                    <a:pt x="13811" y="40481"/>
                  </a:cubicBezTo>
                  <a:cubicBezTo>
                    <a:pt x="13811" y="30004"/>
                    <a:pt x="13811" y="19526"/>
                    <a:pt x="13811" y="10001"/>
                  </a:cubicBezTo>
                  <a:cubicBezTo>
                    <a:pt x="13811" y="9049"/>
                    <a:pt x="13811" y="8096"/>
                    <a:pt x="13811" y="7144"/>
                  </a:cubicBezTo>
                  <a:lnTo>
                    <a:pt x="7144" y="7144"/>
                  </a:lnTo>
                  <a:cubicBezTo>
                    <a:pt x="7144" y="7144"/>
                    <a:pt x="7144" y="7144"/>
                    <a:pt x="7144" y="8096"/>
                  </a:cubicBezTo>
                  <a:cubicBezTo>
                    <a:pt x="7144" y="19526"/>
                    <a:pt x="7144" y="30004"/>
                    <a:pt x="7144" y="41434"/>
                  </a:cubicBezTo>
                  <a:cubicBezTo>
                    <a:pt x="7144" y="46196"/>
                    <a:pt x="8096" y="50959"/>
                    <a:pt x="13811" y="52864"/>
                  </a:cubicBezTo>
                  <a:lnTo>
                    <a:pt x="20479" y="52864"/>
                  </a:lnTo>
                  <a:cubicBezTo>
                    <a:pt x="25241" y="50959"/>
                    <a:pt x="27146" y="47149"/>
                    <a:pt x="27146" y="42386"/>
                  </a:cubicBezTo>
                  <a:cubicBezTo>
                    <a:pt x="27146" y="30956"/>
                    <a:pt x="27146" y="20479"/>
                    <a:pt x="27146" y="9049"/>
                  </a:cubicBezTo>
                  <a:cubicBezTo>
                    <a:pt x="27146" y="9049"/>
                    <a:pt x="27146" y="8096"/>
                    <a:pt x="27146" y="8096"/>
                  </a:cubicBezTo>
                  <a:lnTo>
                    <a:pt x="21431" y="8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E9FA02F2-101B-4069-B351-091F437A418A}"/>
                </a:ext>
              </a:extLst>
            </p:cNvPr>
            <p:cNvSpPr/>
            <p:nvPr/>
          </p:nvSpPr>
          <p:spPr>
            <a:xfrm>
              <a:off x="5172129" y="3424889"/>
              <a:ext cx="84600" cy="169200"/>
            </a:xfrm>
            <a:custGeom>
              <a:avLst/>
              <a:gdLst>
                <a:gd name="connsiteX0" fmla="*/ 26194 w 28575"/>
                <a:gd name="connsiteY0" fmla="*/ 8096 h 57150"/>
                <a:gd name="connsiteX1" fmla="*/ 20479 w 28575"/>
                <a:gd name="connsiteY1" fmla="*/ 8096 h 57150"/>
                <a:gd name="connsiteX2" fmla="*/ 20479 w 28575"/>
                <a:gd name="connsiteY2" fmla="*/ 10954 h 57150"/>
                <a:gd name="connsiteX3" fmla="*/ 20479 w 28575"/>
                <a:gd name="connsiteY3" fmla="*/ 40481 h 57150"/>
                <a:gd name="connsiteX4" fmla="*/ 20479 w 28575"/>
                <a:gd name="connsiteY4" fmla="*/ 43339 h 57150"/>
                <a:gd name="connsiteX5" fmla="*/ 16669 w 28575"/>
                <a:gd name="connsiteY5" fmla="*/ 46196 h 57150"/>
                <a:gd name="connsiteX6" fmla="*/ 12859 w 28575"/>
                <a:gd name="connsiteY6" fmla="*/ 43339 h 57150"/>
                <a:gd name="connsiteX7" fmla="*/ 12859 w 28575"/>
                <a:gd name="connsiteY7" fmla="*/ 39529 h 57150"/>
                <a:gd name="connsiteX8" fmla="*/ 12859 w 28575"/>
                <a:gd name="connsiteY8" fmla="*/ 10001 h 57150"/>
                <a:gd name="connsiteX9" fmla="*/ 12859 w 28575"/>
                <a:gd name="connsiteY9" fmla="*/ 7144 h 57150"/>
                <a:gd name="connsiteX10" fmla="*/ 7144 w 28575"/>
                <a:gd name="connsiteY10" fmla="*/ 7144 h 57150"/>
                <a:gd name="connsiteX11" fmla="*/ 7144 w 28575"/>
                <a:gd name="connsiteY11" fmla="*/ 8096 h 57150"/>
                <a:gd name="connsiteX12" fmla="*/ 7144 w 28575"/>
                <a:gd name="connsiteY12" fmla="*/ 40481 h 57150"/>
                <a:gd name="connsiteX13" fmla="*/ 13811 w 28575"/>
                <a:gd name="connsiteY13" fmla="*/ 50959 h 57150"/>
                <a:gd name="connsiteX14" fmla="*/ 19526 w 28575"/>
                <a:gd name="connsiteY14" fmla="*/ 50959 h 57150"/>
                <a:gd name="connsiteX15" fmla="*/ 27146 w 28575"/>
                <a:gd name="connsiteY15" fmla="*/ 40481 h 57150"/>
                <a:gd name="connsiteX16" fmla="*/ 26194 w 28575"/>
                <a:gd name="connsiteY16" fmla="*/ 8096 h 57150"/>
                <a:gd name="connsiteX17" fmla="*/ 26194 w 28575"/>
                <a:gd name="connsiteY17" fmla="*/ 809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57150">
                  <a:moveTo>
                    <a:pt x="26194" y="8096"/>
                  </a:moveTo>
                  <a:lnTo>
                    <a:pt x="20479" y="8096"/>
                  </a:lnTo>
                  <a:lnTo>
                    <a:pt x="20479" y="10954"/>
                  </a:lnTo>
                  <a:cubicBezTo>
                    <a:pt x="20479" y="20479"/>
                    <a:pt x="20479" y="30956"/>
                    <a:pt x="20479" y="40481"/>
                  </a:cubicBezTo>
                  <a:cubicBezTo>
                    <a:pt x="20479" y="41434"/>
                    <a:pt x="20479" y="42386"/>
                    <a:pt x="20479" y="43339"/>
                  </a:cubicBezTo>
                  <a:cubicBezTo>
                    <a:pt x="20479" y="45244"/>
                    <a:pt x="18574" y="46196"/>
                    <a:pt x="16669" y="46196"/>
                  </a:cubicBezTo>
                  <a:cubicBezTo>
                    <a:pt x="14764" y="46196"/>
                    <a:pt x="12859" y="45244"/>
                    <a:pt x="12859" y="43339"/>
                  </a:cubicBezTo>
                  <a:cubicBezTo>
                    <a:pt x="12859" y="42386"/>
                    <a:pt x="12859" y="41434"/>
                    <a:pt x="12859" y="39529"/>
                  </a:cubicBezTo>
                  <a:cubicBezTo>
                    <a:pt x="12859" y="30004"/>
                    <a:pt x="12859" y="19526"/>
                    <a:pt x="12859" y="10001"/>
                  </a:cubicBezTo>
                  <a:cubicBezTo>
                    <a:pt x="12859" y="9049"/>
                    <a:pt x="12859" y="8096"/>
                    <a:pt x="12859" y="7144"/>
                  </a:cubicBezTo>
                  <a:lnTo>
                    <a:pt x="7144" y="7144"/>
                  </a:lnTo>
                  <a:cubicBezTo>
                    <a:pt x="7144" y="7144"/>
                    <a:pt x="7144" y="8096"/>
                    <a:pt x="7144" y="8096"/>
                  </a:cubicBezTo>
                  <a:cubicBezTo>
                    <a:pt x="7144" y="18574"/>
                    <a:pt x="7144" y="30004"/>
                    <a:pt x="7144" y="40481"/>
                  </a:cubicBezTo>
                  <a:cubicBezTo>
                    <a:pt x="7144" y="45244"/>
                    <a:pt x="9049" y="50006"/>
                    <a:pt x="13811" y="50959"/>
                  </a:cubicBezTo>
                  <a:lnTo>
                    <a:pt x="19526" y="50959"/>
                  </a:lnTo>
                  <a:cubicBezTo>
                    <a:pt x="25241" y="50006"/>
                    <a:pt x="27146" y="45244"/>
                    <a:pt x="27146" y="40481"/>
                  </a:cubicBezTo>
                  <a:cubicBezTo>
                    <a:pt x="26194" y="30956"/>
                    <a:pt x="26194" y="19526"/>
                    <a:pt x="26194" y="8096"/>
                  </a:cubicBezTo>
                  <a:cubicBezTo>
                    <a:pt x="26194" y="8096"/>
                    <a:pt x="26194" y="8096"/>
                    <a:pt x="26194" y="8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3F867A8-71C3-4AB0-BF38-6D67D208A446}"/>
                </a:ext>
              </a:extLst>
            </p:cNvPr>
            <p:cNvSpPr/>
            <p:nvPr/>
          </p:nvSpPr>
          <p:spPr>
            <a:xfrm>
              <a:off x="6203944" y="2660434"/>
              <a:ext cx="169200" cy="169200"/>
            </a:xfrm>
            <a:custGeom>
              <a:avLst/>
              <a:gdLst>
                <a:gd name="connsiteX0" fmla="*/ 31059 w 57150"/>
                <a:gd name="connsiteY0" fmla="*/ 51991 h 57150"/>
                <a:gd name="connsiteX1" fmla="*/ 10104 w 57150"/>
                <a:gd name="connsiteY1" fmla="*/ 31036 h 57150"/>
                <a:gd name="connsiteX2" fmla="*/ 31059 w 57150"/>
                <a:gd name="connsiteY2" fmla="*/ 10081 h 57150"/>
                <a:gd name="connsiteX3" fmla="*/ 52014 w 57150"/>
                <a:gd name="connsiteY3" fmla="*/ 31036 h 57150"/>
                <a:gd name="connsiteX4" fmla="*/ 31059 w 57150"/>
                <a:gd name="connsiteY4" fmla="*/ 51991 h 57150"/>
                <a:gd name="connsiteX5" fmla="*/ 55824 w 57150"/>
                <a:gd name="connsiteY5" fmla="*/ 26274 h 57150"/>
                <a:gd name="connsiteX6" fmla="*/ 29154 w 57150"/>
                <a:gd name="connsiteY6" fmla="*/ 7224 h 57150"/>
                <a:gd name="connsiteX7" fmla="*/ 7247 w 57150"/>
                <a:gd name="connsiteY7" fmla="*/ 29131 h 57150"/>
                <a:gd name="connsiteX8" fmla="*/ 21534 w 57150"/>
                <a:gd name="connsiteY8" fmla="*/ 53896 h 57150"/>
                <a:gd name="connsiteX9" fmla="*/ 49157 w 57150"/>
                <a:gd name="connsiteY9" fmla="*/ 48181 h 57150"/>
                <a:gd name="connsiteX10" fmla="*/ 55824 w 57150"/>
                <a:gd name="connsiteY10" fmla="*/ 35799 h 57150"/>
                <a:gd name="connsiteX11" fmla="*/ 55824 w 57150"/>
                <a:gd name="connsiteY11" fmla="*/ 26274 h 57150"/>
                <a:gd name="connsiteX12" fmla="*/ 55824 w 57150"/>
                <a:gd name="connsiteY12" fmla="*/ 2627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57150">
                  <a:moveTo>
                    <a:pt x="31059" y="51991"/>
                  </a:moveTo>
                  <a:cubicBezTo>
                    <a:pt x="19629" y="51991"/>
                    <a:pt x="10104" y="42466"/>
                    <a:pt x="10104" y="31036"/>
                  </a:cubicBezTo>
                  <a:cubicBezTo>
                    <a:pt x="10104" y="19606"/>
                    <a:pt x="19629" y="10081"/>
                    <a:pt x="31059" y="10081"/>
                  </a:cubicBezTo>
                  <a:cubicBezTo>
                    <a:pt x="42489" y="10081"/>
                    <a:pt x="52014" y="19606"/>
                    <a:pt x="52014" y="31036"/>
                  </a:cubicBezTo>
                  <a:cubicBezTo>
                    <a:pt x="52014" y="42466"/>
                    <a:pt x="43442" y="51991"/>
                    <a:pt x="31059" y="51991"/>
                  </a:cubicBezTo>
                  <a:moveTo>
                    <a:pt x="55824" y="26274"/>
                  </a:moveTo>
                  <a:cubicBezTo>
                    <a:pt x="52967" y="13891"/>
                    <a:pt x="42489" y="6271"/>
                    <a:pt x="29154" y="7224"/>
                  </a:cubicBezTo>
                  <a:cubicBezTo>
                    <a:pt x="17724" y="8176"/>
                    <a:pt x="8199" y="17701"/>
                    <a:pt x="7247" y="29131"/>
                  </a:cubicBezTo>
                  <a:cubicBezTo>
                    <a:pt x="6294" y="39609"/>
                    <a:pt x="12009" y="49134"/>
                    <a:pt x="21534" y="53896"/>
                  </a:cubicBezTo>
                  <a:cubicBezTo>
                    <a:pt x="31059" y="57706"/>
                    <a:pt x="42489" y="55801"/>
                    <a:pt x="49157" y="48181"/>
                  </a:cubicBezTo>
                  <a:cubicBezTo>
                    <a:pt x="52014" y="44371"/>
                    <a:pt x="53919" y="40561"/>
                    <a:pt x="55824" y="35799"/>
                  </a:cubicBezTo>
                  <a:lnTo>
                    <a:pt x="55824" y="26274"/>
                  </a:lnTo>
                  <a:cubicBezTo>
                    <a:pt x="55824" y="27226"/>
                    <a:pt x="55824" y="27226"/>
                    <a:pt x="55824" y="2627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6AC157A-5C62-457B-BFB2-38D9727A1393}"/>
                </a:ext>
              </a:extLst>
            </p:cNvPr>
            <p:cNvSpPr/>
            <p:nvPr/>
          </p:nvSpPr>
          <p:spPr>
            <a:xfrm>
              <a:off x="4785787" y="3424889"/>
              <a:ext cx="84600" cy="169200"/>
            </a:xfrm>
            <a:custGeom>
              <a:avLst/>
              <a:gdLst>
                <a:gd name="connsiteX0" fmla="*/ 18574 w 28575"/>
                <a:gd name="connsiteY0" fmla="*/ 39529 h 57150"/>
                <a:gd name="connsiteX1" fmla="*/ 18574 w 28575"/>
                <a:gd name="connsiteY1" fmla="*/ 39529 h 57150"/>
                <a:gd name="connsiteX2" fmla="*/ 12859 w 28575"/>
                <a:gd name="connsiteY2" fmla="*/ 8096 h 57150"/>
                <a:gd name="connsiteX3" fmla="*/ 7144 w 28575"/>
                <a:gd name="connsiteY3" fmla="*/ 8096 h 57150"/>
                <a:gd name="connsiteX4" fmla="*/ 7144 w 28575"/>
                <a:gd name="connsiteY4" fmla="*/ 10001 h 57150"/>
                <a:gd name="connsiteX5" fmla="*/ 8096 w 28575"/>
                <a:gd name="connsiteY5" fmla="*/ 10954 h 57150"/>
                <a:gd name="connsiteX6" fmla="*/ 15716 w 28575"/>
                <a:gd name="connsiteY6" fmla="*/ 50006 h 57150"/>
                <a:gd name="connsiteX7" fmla="*/ 18574 w 28575"/>
                <a:gd name="connsiteY7" fmla="*/ 51911 h 57150"/>
                <a:gd name="connsiteX8" fmla="*/ 21431 w 28575"/>
                <a:gd name="connsiteY8" fmla="*/ 50006 h 57150"/>
                <a:gd name="connsiteX9" fmla="*/ 28099 w 28575"/>
                <a:gd name="connsiteY9" fmla="*/ 15716 h 57150"/>
                <a:gd name="connsiteX10" fmla="*/ 30004 w 28575"/>
                <a:gd name="connsiteY10" fmla="*/ 7144 h 57150"/>
                <a:gd name="connsiteX11" fmla="*/ 23336 w 28575"/>
                <a:gd name="connsiteY11" fmla="*/ 7144 h 57150"/>
                <a:gd name="connsiteX12" fmla="*/ 18574 w 28575"/>
                <a:gd name="connsiteY12" fmla="*/ 3952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575" h="57150">
                  <a:moveTo>
                    <a:pt x="18574" y="39529"/>
                  </a:moveTo>
                  <a:cubicBezTo>
                    <a:pt x="18574" y="39529"/>
                    <a:pt x="17621" y="39529"/>
                    <a:pt x="18574" y="39529"/>
                  </a:cubicBezTo>
                  <a:cubicBezTo>
                    <a:pt x="16669" y="29051"/>
                    <a:pt x="14764" y="18574"/>
                    <a:pt x="12859" y="8096"/>
                  </a:cubicBezTo>
                  <a:lnTo>
                    <a:pt x="7144" y="8096"/>
                  </a:lnTo>
                  <a:lnTo>
                    <a:pt x="7144" y="10001"/>
                  </a:lnTo>
                  <a:cubicBezTo>
                    <a:pt x="7144" y="10001"/>
                    <a:pt x="7144" y="10954"/>
                    <a:pt x="8096" y="10954"/>
                  </a:cubicBezTo>
                  <a:cubicBezTo>
                    <a:pt x="10954" y="24289"/>
                    <a:pt x="12859" y="37624"/>
                    <a:pt x="15716" y="50006"/>
                  </a:cubicBezTo>
                  <a:cubicBezTo>
                    <a:pt x="15716" y="51911"/>
                    <a:pt x="16669" y="51911"/>
                    <a:pt x="18574" y="51911"/>
                  </a:cubicBezTo>
                  <a:cubicBezTo>
                    <a:pt x="19526" y="51911"/>
                    <a:pt x="21431" y="52864"/>
                    <a:pt x="21431" y="50006"/>
                  </a:cubicBezTo>
                  <a:cubicBezTo>
                    <a:pt x="23336" y="38576"/>
                    <a:pt x="26194" y="27146"/>
                    <a:pt x="28099" y="15716"/>
                  </a:cubicBezTo>
                  <a:cubicBezTo>
                    <a:pt x="29051" y="12859"/>
                    <a:pt x="29051" y="10001"/>
                    <a:pt x="30004" y="7144"/>
                  </a:cubicBezTo>
                  <a:lnTo>
                    <a:pt x="23336" y="7144"/>
                  </a:lnTo>
                  <a:cubicBezTo>
                    <a:pt x="21431" y="18574"/>
                    <a:pt x="20479" y="29051"/>
                    <a:pt x="18574" y="3952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4F598EAB-6618-4519-89F3-DC5501850C83}"/>
                </a:ext>
              </a:extLst>
            </p:cNvPr>
            <p:cNvSpPr/>
            <p:nvPr/>
          </p:nvSpPr>
          <p:spPr>
            <a:xfrm>
              <a:off x="5400547" y="3427210"/>
              <a:ext cx="84600" cy="169200"/>
            </a:xfrm>
            <a:custGeom>
              <a:avLst/>
              <a:gdLst>
                <a:gd name="connsiteX0" fmla="*/ 15716 w 28575"/>
                <a:gd name="connsiteY0" fmla="*/ 22552 h 57150"/>
                <a:gd name="connsiteX1" fmla="*/ 14764 w 28575"/>
                <a:gd name="connsiteY1" fmla="*/ 13980 h 57150"/>
                <a:gd name="connsiteX2" fmla="*/ 22384 w 28575"/>
                <a:gd name="connsiteY2" fmla="*/ 13027 h 57150"/>
                <a:gd name="connsiteX3" fmla="*/ 23336 w 28575"/>
                <a:gd name="connsiteY3" fmla="*/ 13980 h 57150"/>
                <a:gd name="connsiteX4" fmla="*/ 23336 w 28575"/>
                <a:gd name="connsiteY4" fmla="*/ 9217 h 57150"/>
                <a:gd name="connsiteX5" fmla="*/ 22384 w 28575"/>
                <a:gd name="connsiteY5" fmla="*/ 8265 h 57150"/>
                <a:gd name="connsiteX6" fmla="*/ 8096 w 28575"/>
                <a:gd name="connsiteY6" fmla="*/ 13980 h 57150"/>
                <a:gd name="connsiteX7" fmla="*/ 10954 w 28575"/>
                <a:gd name="connsiteY7" fmla="*/ 28267 h 57150"/>
                <a:gd name="connsiteX8" fmla="*/ 15716 w 28575"/>
                <a:gd name="connsiteY8" fmla="*/ 33030 h 57150"/>
                <a:gd name="connsiteX9" fmla="*/ 19526 w 28575"/>
                <a:gd name="connsiteY9" fmla="*/ 38745 h 57150"/>
                <a:gd name="connsiteX10" fmla="*/ 17621 w 28575"/>
                <a:gd name="connsiteY10" fmla="*/ 46365 h 57150"/>
                <a:gd name="connsiteX11" fmla="*/ 10001 w 28575"/>
                <a:gd name="connsiteY11" fmla="*/ 46365 h 57150"/>
                <a:gd name="connsiteX12" fmla="*/ 8096 w 28575"/>
                <a:gd name="connsiteY12" fmla="*/ 45412 h 57150"/>
                <a:gd name="connsiteX13" fmla="*/ 11906 w 28575"/>
                <a:gd name="connsiteY13" fmla="*/ 53032 h 57150"/>
                <a:gd name="connsiteX14" fmla="*/ 18574 w 28575"/>
                <a:gd name="connsiteY14" fmla="*/ 53032 h 57150"/>
                <a:gd name="connsiteX15" fmla="*/ 26194 w 28575"/>
                <a:gd name="connsiteY15" fmla="*/ 43507 h 57150"/>
                <a:gd name="connsiteX16" fmla="*/ 22384 w 28575"/>
                <a:gd name="connsiteY16" fmla="*/ 31125 h 57150"/>
                <a:gd name="connsiteX17" fmla="*/ 15716 w 28575"/>
                <a:gd name="connsiteY17" fmla="*/ 2255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57150">
                  <a:moveTo>
                    <a:pt x="15716" y="22552"/>
                  </a:moveTo>
                  <a:cubicBezTo>
                    <a:pt x="13811" y="19695"/>
                    <a:pt x="12859" y="15885"/>
                    <a:pt x="14764" y="13980"/>
                  </a:cubicBezTo>
                  <a:cubicBezTo>
                    <a:pt x="16669" y="12075"/>
                    <a:pt x="19526" y="11122"/>
                    <a:pt x="22384" y="13027"/>
                  </a:cubicBezTo>
                  <a:cubicBezTo>
                    <a:pt x="22384" y="13027"/>
                    <a:pt x="23336" y="13027"/>
                    <a:pt x="23336" y="13980"/>
                  </a:cubicBezTo>
                  <a:cubicBezTo>
                    <a:pt x="23336" y="12075"/>
                    <a:pt x="23336" y="10170"/>
                    <a:pt x="23336" y="9217"/>
                  </a:cubicBezTo>
                  <a:cubicBezTo>
                    <a:pt x="23336" y="9217"/>
                    <a:pt x="22384" y="8265"/>
                    <a:pt x="22384" y="8265"/>
                  </a:cubicBezTo>
                  <a:cubicBezTo>
                    <a:pt x="16669" y="5407"/>
                    <a:pt x="10001" y="8265"/>
                    <a:pt x="8096" y="13980"/>
                  </a:cubicBezTo>
                  <a:cubicBezTo>
                    <a:pt x="6191" y="18742"/>
                    <a:pt x="7144" y="23505"/>
                    <a:pt x="10954" y="28267"/>
                  </a:cubicBezTo>
                  <a:cubicBezTo>
                    <a:pt x="12859" y="30172"/>
                    <a:pt x="13811" y="31125"/>
                    <a:pt x="15716" y="33030"/>
                  </a:cubicBezTo>
                  <a:cubicBezTo>
                    <a:pt x="16669" y="34935"/>
                    <a:pt x="18574" y="36840"/>
                    <a:pt x="19526" y="38745"/>
                  </a:cubicBezTo>
                  <a:cubicBezTo>
                    <a:pt x="20479" y="41602"/>
                    <a:pt x="20479" y="44460"/>
                    <a:pt x="17621" y="46365"/>
                  </a:cubicBezTo>
                  <a:cubicBezTo>
                    <a:pt x="15716" y="48270"/>
                    <a:pt x="12859" y="47317"/>
                    <a:pt x="10001" y="46365"/>
                  </a:cubicBezTo>
                  <a:cubicBezTo>
                    <a:pt x="9049" y="46365"/>
                    <a:pt x="9049" y="45412"/>
                    <a:pt x="8096" y="45412"/>
                  </a:cubicBezTo>
                  <a:cubicBezTo>
                    <a:pt x="8096" y="51127"/>
                    <a:pt x="8096" y="51127"/>
                    <a:pt x="11906" y="53032"/>
                  </a:cubicBezTo>
                  <a:lnTo>
                    <a:pt x="18574" y="53032"/>
                  </a:lnTo>
                  <a:cubicBezTo>
                    <a:pt x="23336" y="51127"/>
                    <a:pt x="26194" y="48270"/>
                    <a:pt x="26194" y="43507"/>
                  </a:cubicBezTo>
                  <a:cubicBezTo>
                    <a:pt x="27146" y="38745"/>
                    <a:pt x="25241" y="34935"/>
                    <a:pt x="22384" y="31125"/>
                  </a:cubicBezTo>
                  <a:cubicBezTo>
                    <a:pt x="20479" y="27315"/>
                    <a:pt x="18574" y="24457"/>
                    <a:pt x="15716" y="2255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03CB9E43-E4A8-4A0D-8F58-9C401DBD8DE9}"/>
                </a:ext>
              </a:extLst>
            </p:cNvPr>
            <p:cNvSpPr/>
            <p:nvPr/>
          </p:nvSpPr>
          <p:spPr>
            <a:xfrm>
              <a:off x="4967235" y="3423906"/>
              <a:ext cx="84600" cy="169200"/>
            </a:xfrm>
            <a:custGeom>
              <a:avLst/>
              <a:gdLst>
                <a:gd name="connsiteX0" fmla="*/ 15389 w 28575"/>
                <a:gd name="connsiteY0" fmla="*/ 41766 h 57150"/>
                <a:gd name="connsiteX1" fmla="*/ 15389 w 28575"/>
                <a:gd name="connsiteY1" fmla="*/ 17953 h 57150"/>
                <a:gd name="connsiteX2" fmla="*/ 24914 w 28575"/>
                <a:gd name="connsiteY2" fmla="*/ 13191 h 57150"/>
                <a:gd name="connsiteX3" fmla="*/ 25867 w 28575"/>
                <a:gd name="connsiteY3" fmla="*/ 13191 h 57150"/>
                <a:gd name="connsiteX4" fmla="*/ 25867 w 28575"/>
                <a:gd name="connsiteY4" fmla="*/ 10333 h 57150"/>
                <a:gd name="connsiteX5" fmla="*/ 23962 w 28575"/>
                <a:gd name="connsiteY5" fmla="*/ 7476 h 57150"/>
                <a:gd name="connsiteX6" fmla="*/ 11579 w 28575"/>
                <a:gd name="connsiteY6" fmla="*/ 12238 h 57150"/>
                <a:gd name="connsiteX7" fmla="*/ 8722 w 28575"/>
                <a:gd name="connsiteY7" fmla="*/ 17953 h 57150"/>
                <a:gd name="connsiteX8" fmla="*/ 7769 w 28575"/>
                <a:gd name="connsiteY8" fmla="*/ 39861 h 57150"/>
                <a:gd name="connsiteX9" fmla="*/ 17294 w 28575"/>
                <a:gd name="connsiteY9" fmla="*/ 53196 h 57150"/>
                <a:gd name="connsiteX10" fmla="*/ 23009 w 28575"/>
                <a:gd name="connsiteY10" fmla="*/ 53196 h 57150"/>
                <a:gd name="connsiteX11" fmla="*/ 24914 w 28575"/>
                <a:gd name="connsiteY11" fmla="*/ 47481 h 57150"/>
                <a:gd name="connsiteX12" fmla="*/ 15389 w 28575"/>
                <a:gd name="connsiteY12" fmla="*/ 4176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575" h="57150">
                  <a:moveTo>
                    <a:pt x="15389" y="41766"/>
                  </a:moveTo>
                  <a:cubicBezTo>
                    <a:pt x="12532" y="34146"/>
                    <a:pt x="12532" y="25573"/>
                    <a:pt x="15389" y="17953"/>
                  </a:cubicBezTo>
                  <a:cubicBezTo>
                    <a:pt x="16342" y="13191"/>
                    <a:pt x="20152" y="11286"/>
                    <a:pt x="24914" y="13191"/>
                  </a:cubicBezTo>
                  <a:cubicBezTo>
                    <a:pt x="24914" y="13191"/>
                    <a:pt x="25867" y="13191"/>
                    <a:pt x="25867" y="13191"/>
                  </a:cubicBezTo>
                  <a:cubicBezTo>
                    <a:pt x="25867" y="12238"/>
                    <a:pt x="25867" y="11286"/>
                    <a:pt x="25867" y="10333"/>
                  </a:cubicBezTo>
                  <a:cubicBezTo>
                    <a:pt x="25867" y="8428"/>
                    <a:pt x="24914" y="8428"/>
                    <a:pt x="23962" y="7476"/>
                  </a:cubicBezTo>
                  <a:cubicBezTo>
                    <a:pt x="19199" y="6523"/>
                    <a:pt x="13484" y="7476"/>
                    <a:pt x="11579" y="12238"/>
                  </a:cubicBezTo>
                  <a:cubicBezTo>
                    <a:pt x="10627" y="14143"/>
                    <a:pt x="9674" y="16048"/>
                    <a:pt x="8722" y="17953"/>
                  </a:cubicBezTo>
                  <a:cubicBezTo>
                    <a:pt x="6817" y="25573"/>
                    <a:pt x="6817" y="32241"/>
                    <a:pt x="7769" y="39861"/>
                  </a:cubicBezTo>
                  <a:cubicBezTo>
                    <a:pt x="8722" y="45576"/>
                    <a:pt x="11579" y="50338"/>
                    <a:pt x="17294" y="53196"/>
                  </a:cubicBezTo>
                  <a:lnTo>
                    <a:pt x="23009" y="53196"/>
                  </a:lnTo>
                  <a:cubicBezTo>
                    <a:pt x="25867" y="52243"/>
                    <a:pt x="25867" y="51291"/>
                    <a:pt x="24914" y="47481"/>
                  </a:cubicBezTo>
                  <a:cubicBezTo>
                    <a:pt x="20152" y="47481"/>
                    <a:pt x="16342" y="46528"/>
                    <a:pt x="15389" y="4176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675E0916-E4E3-4907-86A7-C8E6A30BF52C}"/>
                </a:ext>
              </a:extLst>
            </p:cNvPr>
            <p:cNvSpPr/>
            <p:nvPr/>
          </p:nvSpPr>
          <p:spPr>
            <a:xfrm>
              <a:off x="5498139" y="3424889"/>
              <a:ext cx="84600" cy="169200"/>
            </a:xfrm>
            <a:custGeom>
              <a:avLst/>
              <a:gdLst>
                <a:gd name="connsiteX0" fmla="*/ 14186 w 28575"/>
                <a:gd name="connsiteY0" fmla="*/ 39529 h 57150"/>
                <a:gd name="connsiteX1" fmla="*/ 13234 w 28575"/>
                <a:gd name="connsiteY1" fmla="*/ 24289 h 57150"/>
                <a:gd name="connsiteX2" fmla="*/ 15139 w 28575"/>
                <a:gd name="connsiteY2" fmla="*/ 16669 h 57150"/>
                <a:gd name="connsiteX3" fmla="*/ 23711 w 28575"/>
                <a:gd name="connsiteY3" fmla="*/ 13811 h 57150"/>
                <a:gd name="connsiteX4" fmla="*/ 25616 w 28575"/>
                <a:gd name="connsiteY4" fmla="*/ 13811 h 57150"/>
                <a:gd name="connsiteX5" fmla="*/ 19901 w 28575"/>
                <a:gd name="connsiteY5" fmla="*/ 7144 h 57150"/>
                <a:gd name="connsiteX6" fmla="*/ 9424 w 28575"/>
                <a:gd name="connsiteY6" fmla="*/ 15716 h 57150"/>
                <a:gd name="connsiteX7" fmla="*/ 8471 w 28575"/>
                <a:gd name="connsiteY7" fmla="*/ 39529 h 57150"/>
                <a:gd name="connsiteX8" fmla="*/ 17996 w 28575"/>
                <a:gd name="connsiteY8" fmla="*/ 51911 h 57150"/>
                <a:gd name="connsiteX9" fmla="*/ 23711 w 28575"/>
                <a:gd name="connsiteY9" fmla="*/ 51911 h 57150"/>
                <a:gd name="connsiteX10" fmla="*/ 25616 w 28575"/>
                <a:gd name="connsiteY10" fmla="*/ 46196 h 57150"/>
                <a:gd name="connsiteX11" fmla="*/ 14186 w 28575"/>
                <a:gd name="connsiteY11" fmla="*/ 3952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14186" y="39529"/>
                  </a:moveTo>
                  <a:cubicBezTo>
                    <a:pt x="13234" y="34766"/>
                    <a:pt x="13234" y="30004"/>
                    <a:pt x="13234" y="24289"/>
                  </a:cubicBezTo>
                  <a:cubicBezTo>
                    <a:pt x="13234" y="21431"/>
                    <a:pt x="14186" y="18574"/>
                    <a:pt x="15139" y="16669"/>
                  </a:cubicBezTo>
                  <a:cubicBezTo>
                    <a:pt x="17044" y="12859"/>
                    <a:pt x="19901" y="11906"/>
                    <a:pt x="23711" y="13811"/>
                  </a:cubicBezTo>
                  <a:cubicBezTo>
                    <a:pt x="23711" y="13811"/>
                    <a:pt x="24664" y="13811"/>
                    <a:pt x="25616" y="13811"/>
                  </a:cubicBezTo>
                  <a:cubicBezTo>
                    <a:pt x="26569" y="8096"/>
                    <a:pt x="24664" y="7144"/>
                    <a:pt x="19901" y="7144"/>
                  </a:cubicBezTo>
                  <a:cubicBezTo>
                    <a:pt x="14186" y="7144"/>
                    <a:pt x="11329" y="10954"/>
                    <a:pt x="9424" y="15716"/>
                  </a:cubicBezTo>
                  <a:cubicBezTo>
                    <a:pt x="6566" y="23336"/>
                    <a:pt x="6566" y="31909"/>
                    <a:pt x="8471" y="39529"/>
                  </a:cubicBezTo>
                  <a:cubicBezTo>
                    <a:pt x="9424" y="45244"/>
                    <a:pt x="12281" y="50006"/>
                    <a:pt x="17996" y="51911"/>
                  </a:cubicBezTo>
                  <a:lnTo>
                    <a:pt x="23711" y="51911"/>
                  </a:lnTo>
                  <a:cubicBezTo>
                    <a:pt x="26569" y="50006"/>
                    <a:pt x="26569" y="50006"/>
                    <a:pt x="25616" y="46196"/>
                  </a:cubicBezTo>
                  <a:cubicBezTo>
                    <a:pt x="18949" y="47149"/>
                    <a:pt x="15139" y="45244"/>
                    <a:pt x="14186" y="3952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C03772DD-A35B-4FF7-8D9E-7BFF82CBCA88}"/>
                </a:ext>
              </a:extLst>
            </p:cNvPr>
            <p:cNvSpPr/>
            <p:nvPr/>
          </p:nvSpPr>
          <p:spPr>
            <a:xfrm>
              <a:off x="5702289" y="3423418"/>
              <a:ext cx="112800" cy="169200"/>
            </a:xfrm>
            <a:custGeom>
              <a:avLst/>
              <a:gdLst>
                <a:gd name="connsiteX0" fmla="*/ 28099 w 38100"/>
                <a:gd name="connsiteY0" fmla="*/ 7641 h 57150"/>
                <a:gd name="connsiteX1" fmla="*/ 22384 w 38100"/>
                <a:gd name="connsiteY1" fmla="*/ 38121 h 57150"/>
                <a:gd name="connsiteX2" fmla="*/ 21431 w 38100"/>
                <a:gd name="connsiteY2" fmla="*/ 36216 h 57150"/>
                <a:gd name="connsiteX3" fmla="*/ 16669 w 38100"/>
                <a:gd name="connsiteY3" fmla="*/ 11451 h 57150"/>
                <a:gd name="connsiteX4" fmla="*/ 10954 w 38100"/>
                <a:gd name="connsiteY4" fmla="*/ 7641 h 57150"/>
                <a:gd name="connsiteX5" fmla="*/ 10954 w 38100"/>
                <a:gd name="connsiteY5" fmla="*/ 7641 h 57150"/>
                <a:gd name="connsiteX6" fmla="*/ 7144 w 38100"/>
                <a:gd name="connsiteY6" fmla="*/ 51456 h 57150"/>
                <a:gd name="connsiteX7" fmla="*/ 12859 w 38100"/>
                <a:gd name="connsiteY7" fmla="*/ 51456 h 57150"/>
                <a:gd name="connsiteX8" fmla="*/ 14764 w 38100"/>
                <a:gd name="connsiteY8" fmla="*/ 22881 h 57150"/>
                <a:gd name="connsiteX9" fmla="*/ 14764 w 38100"/>
                <a:gd name="connsiteY9" fmla="*/ 22881 h 57150"/>
                <a:gd name="connsiteX10" fmla="*/ 20479 w 38100"/>
                <a:gd name="connsiteY10" fmla="*/ 51456 h 57150"/>
                <a:gd name="connsiteX11" fmla="*/ 24289 w 38100"/>
                <a:gd name="connsiteY11" fmla="*/ 51456 h 57150"/>
                <a:gd name="connsiteX12" fmla="*/ 30004 w 38100"/>
                <a:gd name="connsiteY12" fmla="*/ 23834 h 57150"/>
                <a:gd name="connsiteX13" fmla="*/ 30004 w 38100"/>
                <a:gd name="connsiteY13" fmla="*/ 23834 h 57150"/>
                <a:gd name="connsiteX14" fmla="*/ 30956 w 38100"/>
                <a:gd name="connsiteY14" fmla="*/ 51456 h 57150"/>
                <a:gd name="connsiteX15" fmla="*/ 36671 w 38100"/>
                <a:gd name="connsiteY15" fmla="*/ 51456 h 57150"/>
                <a:gd name="connsiteX16" fmla="*/ 32861 w 38100"/>
                <a:gd name="connsiteY16" fmla="*/ 7641 h 57150"/>
                <a:gd name="connsiteX17" fmla="*/ 28099 w 38100"/>
                <a:gd name="connsiteY17" fmla="*/ 7641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100" h="57150">
                  <a:moveTo>
                    <a:pt x="28099" y="7641"/>
                  </a:moveTo>
                  <a:cubicBezTo>
                    <a:pt x="26194" y="17166"/>
                    <a:pt x="24289" y="27644"/>
                    <a:pt x="22384" y="38121"/>
                  </a:cubicBezTo>
                  <a:cubicBezTo>
                    <a:pt x="22384" y="37169"/>
                    <a:pt x="22384" y="37169"/>
                    <a:pt x="21431" y="36216"/>
                  </a:cubicBezTo>
                  <a:cubicBezTo>
                    <a:pt x="19526" y="27644"/>
                    <a:pt x="18574" y="20024"/>
                    <a:pt x="16669" y="11451"/>
                  </a:cubicBezTo>
                  <a:cubicBezTo>
                    <a:pt x="15716" y="6689"/>
                    <a:pt x="15716" y="6689"/>
                    <a:pt x="10954" y="7641"/>
                  </a:cubicBezTo>
                  <a:cubicBezTo>
                    <a:pt x="10954" y="7641"/>
                    <a:pt x="10954" y="7641"/>
                    <a:pt x="10954" y="7641"/>
                  </a:cubicBezTo>
                  <a:cubicBezTo>
                    <a:pt x="10001" y="21929"/>
                    <a:pt x="8096" y="36216"/>
                    <a:pt x="7144" y="51456"/>
                  </a:cubicBezTo>
                  <a:lnTo>
                    <a:pt x="12859" y="51456"/>
                  </a:lnTo>
                  <a:cubicBezTo>
                    <a:pt x="13811" y="41931"/>
                    <a:pt x="13811" y="32406"/>
                    <a:pt x="14764" y="22881"/>
                  </a:cubicBezTo>
                  <a:cubicBezTo>
                    <a:pt x="14764" y="22881"/>
                    <a:pt x="14764" y="22881"/>
                    <a:pt x="14764" y="22881"/>
                  </a:cubicBezTo>
                  <a:cubicBezTo>
                    <a:pt x="16669" y="32406"/>
                    <a:pt x="18574" y="41931"/>
                    <a:pt x="20479" y="51456"/>
                  </a:cubicBezTo>
                  <a:lnTo>
                    <a:pt x="24289" y="51456"/>
                  </a:lnTo>
                  <a:cubicBezTo>
                    <a:pt x="26194" y="41931"/>
                    <a:pt x="28099" y="33359"/>
                    <a:pt x="30004" y="23834"/>
                  </a:cubicBezTo>
                  <a:cubicBezTo>
                    <a:pt x="30004" y="23834"/>
                    <a:pt x="30004" y="23834"/>
                    <a:pt x="30004" y="23834"/>
                  </a:cubicBezTo>
                  <a:cubicBezTo>
                    <a:pt x="30004" y="33359"/>
                    <a:pt x="30956" y="41931"/>
                    <a:pt x="30956" y="51456"/>
                  </a:cubicBezTo>
                  <a:lnTo>
                    <a:pt x="36671" y="51456"/>
                  </a:lnTo>
                  <a:cubicBezTo>
                    <a:pt x="35719" y="37169"/>
                    <a:pt x="33814" y="21929"/>
                    <a:pt x="32861" y="7641"/>
                  </a:cubicBezTo>
                  <a:lnTo>
                    <a:pt x="28099" y="76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5473FD-FF60-478C-A030-E7E30FA1AD2D}"/>
                </a:ext>
              </a:extLst>
            </p:cNvPr>
            <p:cNvSpPr/>
            <p:nvPr/>
          </p:nvSpPr>
          <p:spPr>
            <a:xfrm>
              <a:off x="5276467" y="3427711"/>
              <a:ext cx="112800" cy="169200"/>
            </a:xfrm>
            <a:custGeom>
              <a:avLst/>
              <a:gdLst>
                <a:gd name="connsiteX0" fmla="*/ 27146 w 38100"/>
                <a:gd name="connsiteY0" fmla="*/ 7144 h 57150"/>
                <a:gd name="connsiteX1" fmla="*/ 21431 w 38100"/>
                <a:gd name="connsiteY1" fmla="*/ 37624 h 57150"/>
                <a:gd name="connsiteX2" fmla="*/ 21431 w 38100"/>
                <a:gd name="connsiteY2" fmla="*/ 37624 h 57150"/>
                <a:gd name="connsiteX3" fmla="*/ 15716 w 38100"/>
                <a:gd name="connsiteY3" fmla="*/ 7144 h 57150"/>
                <a:gd name="connsiteX4" fmla="*/ 10954 w 38100"/>
                <a:gd name="connsiteY4" fmla="*/ 7144 h 57150"/>
                <a:gd name="connsiteX5" fmla="*/ 7144 w 38100"/>
                <a:gd name="connsiteY5" fmla="*/ 50959 h 57150"/>
                <a:gd name="connsiteX6" fmla="*/ 12859 w 38100"/>
                <a:gd name="connsiteY6" fmla="*/ 50959 h 57150"/>
                <a:gd name="connsiteX7" fmla="*/ 14764 w 38100"/>
                <a:gd name="connsiteY7" fmla="*/ 22384 h 57150"/>
                <a:gd name="connsiteX8" fmla="*/ 20479 w 38100"/>
                <a:gd name="connsiteY8" fmla="*/ 49054 h 57150"/>
                <a:gd name="connsiteX9" fmla="*/ 22384 w 38100"/>
                <a:gd name="connsiteY9" fmla="*/ 50959 h 57150"/>
                <a:gd name="connsiteX10" fmla="*/ 24289 w 38100"/>
                <a:gd name="connsiteY10" fmla="*/ 50959 h 57150"/>
                <a:gd name="connsiteX11" fmla="*/ 29051 w 38100"/>
                <a:gd name="connsiteY11" fmla="*/ 23336 h 57150"/>
                <a:gd name="connsiteX12" fmla="*/ 29051 w 38100"/>
                <a:gd name="connsiteY12" fmla="*/ 23336 h 57150"/>
                <a:gd name="connsiteX13" fmla="*/ 30956 w 38100"/>
                <a:gd name="connsiteY13" fmla="*/ 50959 h 57150"/>
                <a:gd name="connsiteX14" fmla="*/ 36671 w 38100"/>
                <a:gd name="connsiteY14" fmla="*/ 50959 h 57150"/>
                <a:gd name="connsiteX15" fmla="*/ 32861 w 38100"/>
                <a:gd name="connsiteY15" fmla="*/ 7144 h 57150"/>
                <a:gd name="connsiteX16" fmla="*/ 27146 w 38100"/>
                <a:gd name="connsiteY16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100" h="57150">
                  <a:moveTo>
                    <a:pt x="27146" y="7144"/>
                  </a:moveTo>
                  <a:cubicBezTo>
                    <a:pt x="25241" y="17621"/>
                    <a:pt x="23336" y="27146"/>
                    <a:pt x="21431" y="37624"/>
                  </a:cubicBezTo>
                  <a:cubicBezTo>
                    <a:pt x="21431" y="37624"/>
                    <a:pt x="21431" y="37624"/>
                    <a:pt x="21431" y="37624"/>
                  </a:cubicBezTo>
                  <a:cubicBezTo>
                    <a:pt x="19526" y="27146"/>
                    <a:pt x="17621" y="17621"/>
                    <a:pt x="15716" y="7144"/>
                  </a:cubicBezTo>
                  <a:lnTo>
                    <a:pt x="10954" y="7144"/>
                  </a:lnTo>
                  <a:cubicBezTo>
                    <a:pt x="10001" y="22384"/>
                    <a:pt x="8096" y="36671"/>
                    <a:pt x="7144" y="50959"/>
                  </a:cubicBezTo>
                  <a:lnTo>
                    <a:pt x="12859" y="50959"/>
                  </a:lnTo>
                  <a:cubicBezTo>
                    <a:pt x="13811" y="41434"/>
                    <a:pt x="13811" y="31909"/>
                    <a:pt x="14764" y="22384"/>
                  </a:cubicBezTo>
                  <a:cubicBezTo>
                    <a:pt x="16669" y="30956"/>
                    <a:pt x="18574" y="40481"/>
                    <a:pt x="20479" y="49054"/>
                  </a:cubicBezTo>
                  <a:cubicBezTo>
                    <a:pt x="20479" y="50959"/>
                    <a:pt x="21431" y="50959"/>
                    <a:pt x="22384" y="50959"/>
                  </a:cubicBezTo>
                  <a:cubicBezTo>
                    <a:pt x="23336" y="50959"/>
                    <a:pt x="23336" y="50959"/>
                    <a:pt x="24289" y="50959"/>
                  </a:cubicBezTo>
                  <a:cubicBezTo>
                    <a:pt x="26194" y="41434"/>
                    <a:pt x="28099" y="32861"/>
                    <a:pt x="29051" y="23336"/>
                  </a:cubicBezTo>
                  <a:cubicBezTo>
                    <a:pt x="29051" y="23336"/>
                    <a:pt x="29051" y="23336"/>
                    <a:pt x="29051" y="23336"/>
                  </a:cubicBezTo>
                  <a:cubicBezTo>
                    <a:pt x="30004" y="31909"/>
                    <a:pt x="30004" y="41434"/>
                    <a:pt x="30956" y="50959"/>
                  </a:cubicBezTo>
                  <a:lnTo>
                    <a:pt x="36671" y="50959"/>
                  </a:lnTo>
                  <a:cubicBezTo>
                    <a:pt x="35719" y="36671"/>
                    <a:pt x="33814" y="21431"/>
                    <a:pt x="32861" y="7144"/>
                  </a:cubicBezTo>
                  <a:lnTo>
                    <a:pt x="27146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A97D55BB-09E2-42A4-AA40-9553DC659ED3}"/>
                </a:ext>
              </a:extLst>
            </p:cNvPr>
            <p:cNvSpPr/>
            <p:nvPr/>
          </p:nvSpPr>
          <p:spPr>
            <a:xfrm>
              <a:off x="5597947" y="3424889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1911 h 57150"/>
                <a:gd name="connsiteX2" fmla="*/ 12859 w 28575"/>
                <a:gd name="connsiteY2" fmla="*/ 51911 h 57150"/>
                <a:gd name="connsiteX3" fmla="*/ 12859 w 28575"/>
                <a:gd name="connsiteY3" fmla="*/ 30004 h 57150"/>
                <a:gd name="connsiteX4" fmla="*/ 22384 w 28575"/>
                <a:gd name="connsiteY4" fmla="*/ 30004 h 57150"/>
                <a:gd name="connsiteX5" fmla="*/ 22384 w 28575"/>
                <a:gd name="connsiteY5" fmla="*/ 51911 h 57150"/>
                <a:gd name="connsiteX6" fmla="*/ 28099 w 28575"/>
                <a:gd name="connsiteY6" fmla="*/ 51911 h 57150"/>
                <a:gd name="connsiteX7" fmla="*/ 28099 w 28575"/>
                <a:gd name="connsiteY7" fmla="*/ 8096 h 57150"/>
                <a:gd name="connsiteX8" fmla="*/ 22384 w 28575"/>
                <a:gd name="connsiteY8" fmla="*/ 8096 h 57150"/>
                <a:gd name="connsiteX9" fmla="*/ 22384 w 28575"/>
                <a:gd name="connsiteY9" fmla="*/ 24289 h 57150"/>
                <a:gd name="connsiteX10" fmla="*/ 12859 w 28575"/>
                <a:gd name="connsiteY10" fmla="*/ 24289 h 57150"/>
                <a:gd name="connsiteX11" fmla="*/ 12859 w 28575"/>
                <a:gd name="connsiteY11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1911"/>
                  </a:lnTo>
                  <a:lnTo>
                    <a:pt x="12859" y="51911"/>
                  </a:lnTo>
                  <a:lnTo>
                    <a:pt x="12859" y="30004"/>
                  </a:lnTo>
                  <a:lnTo>
                    <a:pt x="22384" y="30004"/>
                  </a:lnTo>
                  <a:lnTo>
                    <a:pt x="22384" y="51911"/>
                  </a:lnTo>
                  <a:lnTo>
                    <a:pt x="28099" y="51911"/>
                  </a:lnTo>
                  <a:lnTo>
                    <a:pt x="28099" y="8096"/>
                  </a:lnTo>
                  <a:lnTo>
                    <a:pt x="22384" y="8096"/>
                  </a:lnTo>
                  <a:lnTo>
                    <a:pt x="22384" y="24289"/>
                  </a:lnTo>
                  <a:lnTo>
                    <a:pt x="12859" y="24289"/>
                  </a:lnTo>
                  <a:lnTo>
                    <a:pt x="128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158D2B25-4A9C-4AB8-BEDA-637487E4BDF9}"/>
                </a:ext>
              </a:extLst>
            </p:cNvPr>
            <p:cNvSpPr/>
            <p:nvPr/>
          </p:nvSpPr>
          <p:spPr>
            <a:xfrm>
              <a:off x="4867569" y="3424889"/>
              <a:ext cx="112800" cy="169200"/>
            </a:xfrm>
            <a:custGeom>
              <a:avLst/>
              <a:gdLst>
                <a:gd name="connsiteX0" fmla="*/ 15716 w 38100"/>
                <a:gd name="connsiteY0" fmla="*/ 38576 h 57150"/>
                <a:gd name="connsiteX1" fmla="*/ 19526 w 38100"/>
                <a:gd name="connsiteY1" fmla="*/ 17621 h 57150"/>
                <a:gd name="connsiteX2" fmla="*/ 19526 w 38100"/>
                <a:gd name="connsiteY2" fmla="*/ 17621 h 57150"/>
                <a:gd name="connsiteX3" fmla="*/ 22384 w 38100"/>
                <a:gd name="connsiteY3" fmla="*/ 38576 h 57150"/>
                <a:gd name="connsiteX4" fmla="*/ 15716 w 38100"/>
                <a:gd name="connsiteY4" fmla="*/ 38576 h 57150"/>
                <a:gd name="connsiteX5" fmla="*/ 16669 w 38100"/>
                <a:gd name="connsiteY5" fmla="*/ 7144 h 57150"/>
                <a:gd name="connsiteX6" fmla="*/ 7144 w 38100"/>
                <a:gd name="connsiteY6" fmla="*/ 50959 h 57150"/>
                <a:gd name="connsiteX7" fmla="*/ 12859 w 38100"/>
                <a:gd name="connsiteY7" fmla="*/ 50959 h 57150"/>
                <a:gd name="connsiteX8" fmla="*/ 14764 w 38100"/>
                <a:gd name="connsiteY8" fmla="*/ 44291 h 57150"/>
                <a:gd name="connsiteX9" fmla="*/ 15716 w 38100"/>
                <a:gd name="connsiteY9" fmla="*/ 43339 h 57150"/>
                <a:gd name="connsiteX10" fmla="*/ 23336 w 38100"/>
                <a:gd name="connsiteY10" fmla="*/ 43339 h 57150"/>
                <a:gd name="connsiteX11" fmla="*/ 25241 w 38100"/>
                <a:gd name="connsiteY11" fmla="*/ 50006 h 57150"/>
                <a:gd name="connsiteX12" fmla="*/ 26194 w 38100"/>
                <a:gd name="connsiteY12" fmla="*/ 50959 h 57150"/>
                <a:gd name="connsiteX13" fmla="*/ 31909 w 38100"/>
                <a:gd name="connsiteY13" fmla="*/ 50959 h 57150"/>
                <a:gd name="connsiteX14" fmla="*/ 22384 w 38100"/>
                <a:gd name="connsiteY14" fmla="*/ 7144 h 57150"/>
                <a:gd name="connsiteX15" fmla="*/ 16669 w 38100"/>
                <a:gd name="connsiteY15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8100" h="57150">
                  <a:moveTo>
                    <a:pt x="15716" y="38576"/>
                  </a:moveTo>
                  <a:cubicBezTo>
                    <a:pt x="16669" y="30956"/>
                    <a:pt x="17621" y="24289"/>
                    <a:pt x="19526" y="17621"/>
                  </a:cubicBezTo>
                  <a:cubicBezTo>
                    <a:pt x="19526" y="17621"/>
                    <a:pt x="19526" y="17621"/>
                    <a:pt x="19526" y="17621"/>
                  </a:cubicBezTo>
                  <a:cubicBezTo>
                    <a:pt x="20479" y="24289"/>
                    <a:pt x="21431" y="30956"/>
                    <a:pt x="22384" y="38576"/>
                  </a:cubicBezTo>
                  <a:lnTo>
                    <a:pt x="15716" y="38576"/>
                  </a:lnTo>
                  <a:close/>
                  <a:moveTo>
                    <a:pt x="16669" y="7144"/>
                  </a:moveTo>
                  <a:cubicBezTo>
                    <a:pt x="13811" y="21431"/>
                    <a:pt x="10001" y="36671"/>
                    <a:pt x="7144" y="50959"/>
                  </a:cubicBezTo>
                  <a:lnTo>
                    <a:pt x="12859" y="50959"/>
                  </a:lnTo>
                  <a:cubicBezTo>
                    <a:pt x="12859" y="49054"/>
                    <a:pt x="13811" y="46196"/>
                    <a:pt x="14764" y="44291"/>
                  </a:cubicBezTo>
                  <a:cubicBezTo>
                    <a:pt x="14764" y="43339"/>
                    <a:pt x="15716" y="43339"/>
                    <a:pt x="15716" y="43339"/>
                  </a:cubicBezTo>
                  <a:cubicBezTo>
                    <a:pt x="18574" y="43339"/>
                    <a:pt x="20479" y="43339"/>
                    <a:pt x="23336" y="43339"/>
                  </a:cubicBezTo>
                  <a:cubicBezTo>
                    <a:pt x="24289" y="46196"/>
                    <a:pt x="24289" y="48101"/>
                    <a:pt x="25241" y="50006"/>
                  </a:cubicBezTo>
                  <a:cubicBezTo>
                    <a:pt x="25241" y="50959"/>
                    <a:pt x="26194" y="50959"/>
                    <a:pt x="26194" y="50959"/>
                  </a:cubicBezTo>
                  <a:cubicBezTo>
                    <a:pt x="28099" y="50959"/>
                    <a:pt x="30004" y="50959"/>
                    <a:pt x="31909" y="50959"/>
                  </a:cubicBezTo>
                  <a:cubicBezTo>
                    <a:pt x="29051" y="35719"/>
                    <a:pt x="25241" y="21431"/>
                    <a:pt x="22384" y="7144"/>
                  </a:cubicBezTo>
                  <a:lnTo>
                    <a:pt x="1666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551740D8-5007-47F3-8648-4F46F6760894}"/>
                </a:ext>
              </a:extLst>
            </p:cNvPr>
            <p:cNvSpPr/>
            <p:nvPr/>
          </p:nvSpPr>
          <p:spPr>
            <a:xfrm>
              <a:off x="6018129" y="3427711"/>
              <a:ext cx="84600" cy="169200"/>
            </a:xfrm>
            <a:custGeom>
              <a:avLst/>
              <a:gdLst>
                <a:gd name="connsiteX0" fmla="*/ 9049 w 28575"/>
                <a:gd name="connsiteY0" fmla="*/ 7144 h 57150"/>
                <a:gd name="connsiteX1" fmla="*/ 9049 w 28575"/>
                <a:gd name="connsiteY1" fmla="*/ 11906 h 57150"/>
                <a:gd name="connsiteX2" fmla="*/ 20479 w 28575"/>
                <a:gd name="connsiteY2" fmla="*/ 11906 h 57150"/>
                <a:gd name="connsiteX3" fmla="*/ 7144 w 28575"/>
                <a:gd name="connsiteY3" fmla="*/ 50959 h 57150"/>
                <a:gd name="connsiteX4" fmla="*/ 27146 w 28575"/>
                <a:gd name="connsiteY4" fmla="*/ 50959 h 57150"/>
                <a:gd name="connsiteX5" fmla="*/ 27146 w 28575"/>
                <a:gd name="connsiteY5" fmla="*/ 46196 h 57150"/>
                <a:gd name="connsiteX6" fmla="*/ 14764 w 28575"/>
                <a:gd name="connsiteY6" fmla="*/ 46196 h 57150"/>
                <a:gd name="connsiteX7" fmla="*/ 28099 w 28575"/>
                <a:gd name="connsiteY7" fmla="*/ 7144 h 57150"/>
                <a:gd name="connsiteX8" fmla="*/ 9049 w 28575"/>
                <a:gd name="connsiteY8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75" h="57150">
                  <a:moveTo>
                    <a:pt x="9049" y="7144"/>
                  </a:moveTo>
                  <a:lnTo>
                    <a:pt x="9049" y="11906"/>
                  </a:lnTo>
                  <a:lnTo>
                    <a:pt x="20479" y="11906"/>
                  </a:lnTo>
                  <a:cubicBezTo>
                    <a:pt x="15716" y="25241"/>
                    <a:pt x="11906" y="37624"/>
                    <a:pt x="7144" y="50959"/>
                  </a:cubicBezTo>
                  <a:lnTo>
                    <a:pt x="27146" y="50959"/>
                  </a:lnTo>
                  <a:lnTo>
                    <a:pt x="27146" y="46196"/>
                  </a:lnTo>
                  <a:lnTo>
                    <a:pt x="14764" y="46196"/>
                  </a:lnTo>
                  <a:cubicBezTo>
                    <a:pt x="19526" y="32861"/>
                    <a:pt x="23336" y="20479"/>
                    <a:pt x="28099" y="7144"/>
                  </a:cubicBezTo>
                  <a:lnTo>
                    <a:pt x="904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0DFFE3F-D461-4FFF-AB79-B7BF7D9CD84F}"/>
                </a:ext>
              </a:extLst>
            </p:cNvPr>
            <p:cNvSpPr/>
            <p:nvPr/>
          </p:nvSpPr>
          <p:spPr>
            <a:xfrm>
              <a:off x="5840467" y="3424889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1911 h 57150"/>
                <a:gd name="connsiteX2" fmla="*/ 23336 w 28575"/>
                <a:gd name="connsiteY2" fmla="*/ 51911 h 57150"/>
                <a:gd name="connsiteX3" fmla="*/ 23336 w 28575"/>
                <a:gd name="connsiteY3" fmla="*/ 46196 h 57150"/>
                <a:gd name="connsiteX4" fmla="*/ 13811 w 28575"/>
                <a:gd name="connsiteY4" fmla="*/ 46196 h 57150"/>
                <a:gd name="connsiteX5" fmla="*/ 13811 w 28575"/>
                <a:gd name="connsiteY5" fmla="*/ 31909 h 57150"/>
                <a:gd name="connsiteX6" fmla="*/ 22384 w 28575"/>
                <a:gd name="connsiteY6" fmla="*/ 31909 h 57150"/>
                <a:gd name="connsiteX7" fmla="*/ 22384 w 28575"/>
                <a:gd name="connsiteY7" fmla="*/ 26194 h 57150"/>
                <a:gd name="connsiteX8" fmla="*/ 13811 w 28575"/>
                <a:gd name="connsiteY8" fmla="*/ 26194 h 57150"/>
                <a:gd name="connsiteX9" fmla="*/ 13811 w 28575"/>
                <a:gd name="connsiteY9" fmla="*/ 12859 h 57150"/>
                <a:gd name="connsiteX10" fmla="*/ 23336 w 28575"/>
                <a:gd name="connsiteY10" fmla="*/ 12859 h 57150"/>
                <a:gd name="connsiteX11" fmla="*/ 23336 w 28575"/>
                <a:gd name="connsiteY11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1911"/>
                  </a:lnTo>
                  <a:lnTo>
                    <a:pt x="23336" y="51911"/>
                  </a:lnTo>
                  <a:lnTo>
                    <a:pt x="23336" y="46196"/>
                  </a:lnTo>
                  <a:lnTo>
                    <a:pt x="13811" y="46196"/>
                  </a:lnTo>
                  <a:lnTo>
                    <a:pt x="13811" y="31909"/>
                  </a:lnTo>
                  <a:lnTo>
                    <a:pt x="22384" y="31909"/>
                  </a:lnTo>
                  <a:lnTo>
                    <a:pt x="22384" y="26194"/>
                  </a:lnTo>
                  <a:lnTo>
                    <a:pt x="13811" y="26194"/>
                  </a:lnTo>
                  <a:lnTo>
                    <a:pt x="13811" y="12859"/>
                  </a:lnTo>
                  <a:lnTo>
                    <a:pt x="23336" y="12859"/>
                  </a:lnTo>
                  <a:lnTo>
                    <a:pt x="23336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AE626457-7909-4D64-98D8-6FA652C96752}"/>
                </a:ext>
              </a:extLst>
            </p:cNvPr>
            <p:cNvSpPr/>
            <p:nvPr/>
          </p:nvSpPr>
          <p:spPr>
            <a:xfrm>
              <a:off x="6128107" y="3424889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1911 h 57150"/>
                <a:gd name="connsiteX2" fmla="*/ 22384 w 28575"/>
                <a:gd name="connsiteY2" fmla="*/ 51911 h 57150"/>
                <a:gd name="connsiteX3" fmla="*/ 22384 w 28575"/>
                <a:gd name="connsiteY3" fmla="*/ 46196 h 57150"/>
                <a:gd name="connsiteX4" fmla="*/ 12859 w 28575"/>
                <a:gd name="connsiteY4" fmla="*/ 46196 h 57150"/>
                <a:gd name="connsiteX5" fmla="*/ 12859 w 28575"/>
                <a:gd name="connsiteY5" fmla="*/ 31909 h 57150"/>
                <a:gd name="connsiteX6" fmla="*/ 21431 w 28575"/>
                <a:gd name="connsiteY6" fmla="*/ 31909 h 57150"/>
                <a:gd name="connsiteX7" fmla="*/ 21431 w 28575"/>
                <a:gd name="connsiteY7" fmla="*/ 26194 h 57150"/>
                <a:gd name="connsiteX8" fmla="*/ 12859 w 28575"/>
                <a:gd name="connsiteY8" fmla="*/ 26194 h 57150"/>
                <a:gd name="connsiteX9" fmla="*/ 12859 w 28575"/>
                <a:gd name="connsiteY9" fmla="*/ 12859 h 57150"/>
                <a:gd name="connsiteX10" fmla="*/ 22384 w 28575"/>
                <a:gd name="connsiteY10" fmla="*/ 12859 h 57150"/>
                <a:gd name="connsiteX11" fmla="*/ 22384 w 28575"/>
                <a:gd name="connsiteY11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1911"/>
                  </a:lnTo>
                  <a:lnTo>
                    <a:pt x="22384" y="51911"/>
                  </a:lnTo>
                  <a:lnTo>
                    <a:pt x="22384" y="46196"/>
                  </a:lnTo>
                  <a:lnTo>
                    <a:pt x="12859" y="46196"/>
                  </a:lnTo>
                  <a:lnTo>
                    <a:pt x="12859" y="31909"/>
                  </a:lnTo>
                  <a:lnTo>
                    <a:pt x="21431" y="31909"/>
                  </a:lnTo>
                  <a:lnTo>
                    <a:pt x="21431" y="26194"/>
                  </a:lnTo>
                  <a:lnTo>
                    <a:pt x="12859" y="26194"/>
                  </a:lnTo>
                  <a:lnTo>
                    <a:pt x="12859" y="12859"/>
                  </a:lnTo>
                  <a:lnTo>
                    <a:pt x="22384" y="12859"/>
                  </a:lnTo>
                  <a:lnTo>
                    <a:pt x="22384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78453F4A-FCCB-4643-BB5A-FB07B03BFDA1}"/>
                </a:ext>
              </a:extLst>
            </p:cNvPr>
            <p:cNvSpPr/>
            <p:nvPr/>
          </p:nvSpPr>
          <p:spPr>
            <a:xfrm>
              <a:off x="5941987" y="3427711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0959 h 57150"/>
                <a:gd name="connsiteX2" fmla="*/ 22384 w 28575"/>
                <a:gd name="connsiteY2" fmla="*/ 50959 h 57150"/>
                <a:gd name="connsiteX3" fmla="*/ 22384 w 28575"/>
                <a:gd name="connsiteY3" fmla="*/ 45244 h 57150"/>
                <a:gd name="connsiteX4" fmla="*/ 12859 w 28575"/>
                <a:gd name="connsiteY4" fmla="*/ 45244 h 57150"/>
                <a:gd name="connsiteX5" fmla="*/ 12859 w 28575"/>
                <a:gd name="connsiteY5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0959"/>
                  </a:lnTo>
                  <a:lnTo>
                    <a:pt x="22384" y="50959"/>
                  </a:lnTo>
                  <a:lnTo>
                    <a:pt x="22384" y="45244"/>
                  </a:lnTo>
                  <a:lnTo>
                    <a:pt x="12859" y="45244"/>
                  </a:lnTo>
                  <a:lnTo>
                    <a:pt x="128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5D30EDF0-8B33-42CF-A87C-7D3860A0CFDC}"/>
                </a:ext>
              </a:extLst>
            </p:cNvPr>
            <p:cNvSpPr/>
            <p:nvPr/>
          </p:nvSpPr>
          <p:spPr>
            <a:xfrm>
              <a:off x="6249369" y="2691689"/>
              <a:ext cx="84600" cy="112800"/>
            </a:xfrm>
            <a:custGeom>
              <a:avLst/>
              <a:gdLst>
                <a:gd name="connsiteX0" fmla="*/ 19526 w 28575"/>
                <a:gd name="connsiteY0" fmla="*/ 19526 h 38100"/>
                <a:gd name="connsiteX1" fmla="*/ 10954 w 28575"/>
                <a:gd name="connsiteY1" fmla="*/ 20479 h 38100"/>
                <a:gd name="connsiteX2" fmla="*/ 10954 w 28575"/>
                <a:gd name="connsiteY2" fmla="*/ 10954 h 38100"/>
                <a:gd name="connsiteX3" fmla="*/ 19526 w 28575"/>
                <a:gd name="connsiteY3" fmla="*/ 11906 h 38100"/>
                <a:gd name="connsiteX4" fmla="*/ 22384 w 28575"/>
                <a:gd name="connsiteY4" fmla="*/ 15716 h 38100"/>
                <a:gd name="connsiteX5" fmla="*/ 19526 w 28575"/>
                <a:gd name="connsiteY5" fmla="*/ 19526 h 38100"/>
                <a:gd name="connsiteX6" fmla="*/ 27146 w 28575"/>
                <a:gd name="connsiteY6" fmla="*/ 12859 h 38100"/>
                <a:gd name="connsiteX7" fmla="*/ 20479 w 28575"/>
                <a:gd name="connsiteY7" fmla="*/ 7144 h 38100"/>
                <a:gd name="connsiteX8" fmla="*/ 12859 w 28575"/>
                <a:gd name="connsiteY8" fmla="*/ 7144 h 38100"/>
                <a:gd name="connsiteX9" fmla="*/ 7144 w 28575"/>
                <a:gd name="connsiteY9" fmla="*/ 7144 h 38100"/>
                <a:gd name="connsiteX10" fmla="*/ 7144 w 28575"/>
                <a:gd name="connsiteY10" fmla="*/ 33814 h 38100"/>
                <a:gd name="connsiteX11" fmla="*/ 11906 w 28575"/>
                <a:gd name="connsiteY11" fmla="*/ 33814 h 38100"/>
                <a:gd name="connsiteX12" fmla="*/ 11906 w 28575"/>
                <a:gd name="connsiteY12" fmla="*/ 22384 h 38100"/>
                <a:gd name="connsiteX13" fmla="*/ 20479 w 28575"/>
                <a:gd name="connsiteY13" fmla="*/ 24289 h 38100"/>
                <a:gd name="connsiteX14" fmla="*/ 23336 w 28575"/>
                <a:gd name="connsiteY14" fmla="*/ 33814 h 38100"/>
                <a:gd name="connsiteX15" fmla="*/ 27146 w 28575"/>
                <a:gd name="connsiteY15" fmla="*/ 33814 h 38100"/>
                <a:gd name="connsiteX16" fmla="*/ 22384 w 28575"/>
                <a:gd name="connsiteY16" fmla="*/ 21431 h 38100"/>
                <a:gd name="connsiteX17" fmla="*/ 27146 w 28575"/>
                <a:gd name="connsiteY17" fmla="*/ 1285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38100">
                  <a:moveTo>
                    <a:pt x="19526" y="19526"/>
                  </a:moveTo>
                  <a:cubicBezTo>
                    <a:pt x="16669" y="20479"/>
                    <a:pt x="13811" y="20479"/>
                    <a:pt x="10954" y="20479"/>
                  </a:cubicBezTo>
                  <a:lnTo>
                    <a:pt x="10954" y="10954"/>
                  </a:lnTo>
                  <a:cubicBezTo>
                    <a:pt x="13811" y="10954"/>
                    <a:pt x="16669" y="10954"/>
                    <a:pt x="19526" y="11906"/>
                  </a:cubicBezTo>
                  <a:cubicBezTo>
                    <a:pt x="21431" y="11906"/>
                    <a:pt x="22384" y="13811"/>
                    <a:pt x="22384" y="15716"/>
                  </a:cubicBezTo>
                  <a:cubicBezTo>
                    <a:pt x="22384" y="16669"/>
                    <a:pt x="21431" y="18574"/>
                    <a:pt x="19526" y="19526"/>
                  </a:cubicBezTo>
                  <a:moveTo>
                    <a:pt x="27146" y="12859"/>
                  </a:moveTo>
                  <a:cubicBezTo>
                    <a:pt x="27146" y="10001"/>
                    <a:pt x="24289" y="7144"/>
                    <a:pt x="20479" y="7144"/>
                  </a:cubicBezTo>
                  <a:cubicBezTo>
                    <a:pt x="17621" y="7144"/>
                    <a:pt x="14764" y="7144"/>
                    <a:pt x="12859" y="7144"/>
                  </a:cubicBezTo>
                  <a:cubicBezTo>
                    <a:pt x="10954" y="7144"/>
                    <a:pt x="9049" y="7144"/>
                    <a:pt x="7144" y="7144"/>
                  </a:cubicBezTo>
                  <a:lnTo>
                    <a:pt x="7144" y="33814"/>
                  </a:lnTo>
                  <a:lnTo>
                    <a:pt x="11906" y="33814"/>
                  </a:lnTo>
                  <a:lnTo>
                    <a:pt x="11906" y="22384"/>
                  </a:lnTo>
                  <a:cubicBezTo>
                    <a:pt x="14764" y="23336"/>
                    <a:pt x="18574" y="22384"/>
                    <a:pt x="20479" y="24289"/>
                  </a:cubicBezTo>
                  <a:cubicBezTo>
                    <a:pt x="24289" y="26194"/>
                    <a:pt x="22384" y="30004"/>
                    <a:pt x="23336" y="33814"/>
                  </a:cubicBezTo>
                  <a:lnTo>
                    <a:pt x="27146" y="33814"/>
                  </a:lnTo>
                  <a:cubicBezTo>
                    <a:pt x="27146" y="29051"/>
                    <a:pt x="28099" y="24289"/>
                    <a:pt x="22384" y="21431"/>
                  </a:cubicBezTo>
                  <a:cubicBezTo>
                    <a:pt x="26194" y="19526"/>
                    <a:pt x="27146" y="17621"/>
                    <a:pt x="27146" y="1285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71475" y="6489700"/>
            <a:ext cx="4985510" cy="3683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US" dirty="0" smtClean="0"/>
              <a:t>CONFIDENTIA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831C3B7-9E09-469B-A02E-193B6B7A5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37501" y="3246803"/>
            <a:ext cx="8516997" cy="1325563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4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59352DB-4EB8-4BDC-8A50-1D1AA6AA3F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3737" y="4576867"/>
            <a:ext cx="5724525" cy="60166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10000"/>
                    <a:lumOff val="9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Monat XXXX</a:t>
            </a:r>
          </a:p>
        </p:txBody>
      </p:sp>
      <p:grpSp>
        <p:nvGrpSpPr>
          <p:cNvPr id="41" name="Grafik 15">
            <a:extLst>
              <a:ext uri="{FF2B5EF4-FFF2-40B4-BE49-F238E27FC236}">
                <a16:creationId xmlns:a16="http://schemas.microsoft.com/office/drawing/2014/main" id="{1234F928-F062-4F72-8119-CBDFA604F9E4}"/>
              </a:ext>
            </a:extLst>
          </p:cNvPr>
          <p:cNvGrpSpPr/>
          <p:nvPr userDrawn="1"/>
        </p:nvGrpSpPr>
        <p:grpSpPr>
          <a:xfrm>
            <a:off x="4732879" y="3109974"/>
            <a:ext cx="2780361" cy="100013"/>
            <a:chOff x="5434012" y="3405187"/>
            <a:chExt cx="1323975" cy="47625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C32A63D-8C15-43AE-A078-6FA4B2D0B242}"/>
                </a:ext>
              </a:extLst>
            </p:cNvPr>
            <p:cNvSpPr/>
            <p:nvPr/>
          </p:nvSpPr>
          <p:spPr>
            <a:xfrm>
              <a:off x="5426868" y="3398043"/>
              <a:ext cx="276225" cy="57150"/>
            </a:xfrm>
            <a:custGeom>
              <a:avLst/>
              <a:gdLst>
                <a:gd name="connsiteX0" fmla="*/ 50959 w 276225"/>
                <a:gd name="connsiteY0" fmla="*/ 7144 h 57150"/>
                <a:gd name="connsiteX1" fmla="*/ 7144 w 276225"/>
                <a:gd name="connsiteY1" fmla="*/ 49054 h 57150"/>
                <a:gd name="connsiteX2" fmla="*/ 226219 w 276225"/>
                <a:gd name="connsiteY2" fmla="*/ 50006 h 57150"/>
                <a:gd name="connsiteX3" fmla="*/ 270986 w 276225"/>
                <a:gd name="connsiteY3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57150">
                  <a:moveTo>
                    <a:pt x="50959" y="7144"/>
                  </a:moveTo>
                  <a:lnTo>
                    <a:pt x="7144" y="49054"/>
                  </a:lnTo>
                  <a:lnTo>
                    <a:pt x="226219" y="50006"/>
                  </a:lnTo>
                  <a:lnTo>
                    <a:pt x="270986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A3FE8390-871B-42CE-AAC7-4440DC3B47D6}"/>
                </a:ext>
              </a:extLst>
            </p:cNvPr>
            <p:cNvSpPr/>
            <p:nvPr/>
          </p:nvSpPr>
          <p:spPr>
            <a:xfrm>
              <a:off x="5777388" y="3398996"/>
              <a:ext cx="276225" cy="47625"/>
            </a:xfrm>
            <a:custGeom>
              <a:avLst/>
              <a:gdLst>
                <a:gd name="connsiteX0" fmla="*/ 7144 w 276225"/>
                <a:gd name="connsiteY0" fmla="*/ 49054 h 47625"/>
                <a:gd name="connsiteX1" fmla="*/ 226219 w 276225"/>
                <a:gd name="connsiteY1" fmla="*/ 50006 h 47625"/>
                <a:gd name="connsiteX2" fmla="*/ 270986 w 276225"/>
                <a:gd name="connsiteY2" fmla="*/ 7144 h 47625"/>
                <a:gd name="connsiteX3" fmla="*/ 50959 w 2762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47625">
                  <a:moveTo>
                    <a:pt x="7144" y="49054"/>
                  </a:moveTo>
                  <a:lnTo>
                    <a:pt x="226219" y="50006"/>
                  </a:lnTo>
                  <a:lnTo>
                    <a:pt x="270986" y="7144"/>
                  </a:lnTo>
                  <a:lnTo>
                    <a:pt x="509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D09082A8-1909-4930-8EDA-BD6293A58DFA}"/>
                </a:ext>
              </a:extLst>
            </p:cNvPr>
            <p:cNvSpPr/>
            <p:nvPr/>
          </p:nvSpPr>
          <p:spPr>
            <a:xfrm>
              <a:off x="6131718" y="3399948"/>
              <a:ext cx="276225" cy="47625"/>
            </a:xfrm>
            <a:custGeom>
              <a:avLst/>
              <a:gdLst>
                <a:gd name="connsiteX0" fmla="*/ 7144 w 276225"/>
                <a:gd name="connsiteY0" fmla="*/ 49054 h 47625"/>
                <a:gd name="connsiteX1" fmla="*/ 227171 w 276225"/>
                <a:gd name="connsiteY1" fmla="*/ 49054 h 47625"/>
                <a:gd name="connsiteX2" fmla="*/ 270986 w 276225"/>
                <a:gd name="connsiteY2" fmla="*/ 7144 h 47625"/>
                <a:gd name="connsiteX3" fmla="*/ 51911 w 2762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47625">
                  <a:moveTo>
                    <a:pt x="7144" y="49054"/>
                  </a:moveTo>
                  <a:lnTo>
                    <a:pt x="227171" y="49054"/>
                  </a:lnTo>
                  <a:lnTo>
                    <a:pt x="270986" y="7144"/>
                  </a:lnTo>
                  <a:lnTo>
                    <a:pt x="51911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79152736-494F-4395-A463-9F89E52725DF}"/>
                </a:ext>
              </a:extLst>
            </p:cNvPr>
            <p:cNvSpPr/>
            <p:nvPr/>
          </p:nvSpPr>
          <p:spPr>
            <a:xfrm>
              <a:off x="6487953" y="3399948"/>
              <a:ext cx="276225" cy="47625"/>
            </a:xfrm>
            <a:custGeom>
              <a:avLst/>
              <a:gdLst>
                <a:gd name="connsiteX0" fmla="*/ 7144 w 276225"/>
                <a:gd name="connsiteY0" fmla="*/ 50006 h 47625"/>
                <a:gd name="connsiteX1" fmla="*/ 226219 w 276225"/>
                <a:gd name="connsiteY1" fmla="*/ 50006 h 47625"/>
                <a:gd name="connsiteX2" fmla="*/ 270986 w 276225"/>
                <a:gd name="connsiteY2" fmla="*/ 8096 h 47625"/>
                <a:gd name="connsiteX3" fmla="*/ 50959 w 2762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47625">
                  <a:moveTo>
                    <a:pt x="7144" y="50006"/>
                  </a:moveTo>
                  <a:lnTo>
                    <a:pt x="226219" y="50006"/>
                  </a:lnTo>
                  <a:lnTo>
                    <a:pt x="270986" y="8096"/>
                  </a:lnTo>
                  <a:lnTo>
                    <a:pt x="509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77016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46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pos="483">
          <p15:clr>
            <a:srgbClr val="FBAE40"/>
          </p15:clr>
        </p15:guide>
        <p15:guide id="8" pos="721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>
            <a:extLst>
              <a:ext uri="{FF2B5EF4-FFF2-40B4-BE49-F238E27FC236}">
                <a16:creationId xmlns:a16="http://schemas.microsoft.com/office/drawing/2014/main" id="{F2E89817-6697-4EA4-8649-9AB96DFEA9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1166018"/>
            <a:ext cx="9194312" cy="5246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ier folgt ein Aufzählung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24785CD-EEFC-463A-BB0E-0EF76412D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636ABD93-CBAD-41E3-A1D0-7E98149B36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163" y="6489700"/>
            <a:ext cx="360362" cy="368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6FAFAE-B3D1-47A6-B933-CD41C99AEDE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136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fl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71475" y="1166018"/>
            <a:ext cx="9194312" cy="5246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s ist eine Zwischenüberschrift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5FDD60A-F324-4C97-A093-018892E97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DD0F5FC-4BFE-43BC-8C5F-A606DE97A3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690688"/>
            <a:ext cx="11449050" cy="47990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 ist ein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n ihm kann man sehen, ob alle Buchstaben da sind und wie sie aussehen. Manchmal benutzt man Worte wie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burgefont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fgenduk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er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dglove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Schriften zu testen. Manchmal Sätze, die alle Buchstaben des Alphabets enthalten - man nennt diese Sätze »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gram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. Sehr bekannt ist dieser: The quick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wn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x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mp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zy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Oft werden in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e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ch fremdsprachige Satzteile eingebaut (AVAIL® and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fox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™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sting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si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rning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um die Wirkung in anderen Sprachen zu testen. In Lateinisch sieht zum Beispiel fast jede Schrift gut aus. Quod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at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monstrandum. Seit 1975 fehlen in den meisten Testtexten die Zahlen, weswegen nach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Gb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4 § ab dem Jahr 2034 Zahlen in 86 der Texte zur Pflicht werden. Nichteinhaltung wird mit bis zu 245 € oder 368 $ bestraft. Genauso wichtig in sind mittlerweile auch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Âçcèñtë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in neueren Schriften aber fast immer enthalten sind. </a:t>
            </a:r>
            <a:endParaRPr lang="de-DE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546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0" y="0"/>
            <a:ext cx="12192000" cy="6857998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90574" y="3323010"/>
            <a:ext cx="5928852" cy="1126896"/>
          </a:xfrm>
          <a:prstGeom prst="rect">
            <a:avLst/>
          </a:prstGeo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noProof="0" dirty="0" smtClean="0"/>
              <a:t>MASTERTITELFORMAT </a:t>
            </a:r>
            <a:br>
              <a:rPr lang="de-DE" noProof="0" dirty="0" smtClean="0"/>
            </a:br>
            <a:r>
              <a:rPr lang="de-DE" noProof="0" dirty="0" smtClean="0"/>
              <a:t>BEARBEITEN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16716" y="4520026"/>
            <a:ext cx="5476568" cy="6061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DE" noProof="0" dirty="0" smtClean="0"/>
              <a:t>Monat XXXX</a:t>
            </a:r>
            <a:endParaRPr lang="de-DE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8000" y="1407600"/>
            <a:ext cx="2753028" cy="1836000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0" y="6598800"/>
            <a:ext cx="31431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bg1"/>
                </a:solidFill>
              </a:rPr>
              <a:t>DER FORTSCHRITT BEGINNT BEIM WERKSTOFF</a:t>
            </a:r>
            <a:endParaRPr lang="de-DE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35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5806"/>
            <a:ext cx="5905707" cy="3054282"/>
          </a:xfrm>
          <a:prstGeom prst="rect">
            <a:avLst/>
          </a:prstGeom>
        </p:spPr>
      </p:pic>
      <p:sp>
        <p:nvSpPr>
          <p:cNvPr id="12" name="Titel 5">
            <a:extLst>
              <a:ext uri="{FF2B5EF4-FFF2-40B4-BE49-F238E27FC236}">
                <a16:creationId xmlns:a16="http://schemas.microsoft.com/office/drawing/2014/main" id="{4831C3B7-9E09-469B-A02E-193B6B7A5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03" y="2472380"/>
            <a:ext cx="5476351" cy="132556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4400"/>
              </a:lnSpc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noProof="0" dirty="0" smtClean="0"/>
              <a:t>MASTERTITELFORMAT </a:t>
            </a:r>
            <a:br>
              <a:rPr lang="de-DE" noProof="0" dirty="0" smtClean="0"/>
            </a:br>
            <a:r>
              <a:rPr lang="de-DE" noProof="0" dirty="0" smtClean="0"/>
              <a:t>BEARBEITEN</a:t>
            </a:r>
            <a:endParaRPr lang="de-DE" noProof="0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659352DB-4EB8-4BDC-8A50-1D1AA6AA3F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802444"/>
            <a:ext cx="5465179" cy="6016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noProof="0" dirty="0" smtClean="0"/>
              <a:t>Monat XXXX</a:t>
            </a:r>
            <a:endParaRPr lang="de-DE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1600" y="-6870"/>
            <a:ext cx="1040023" cy="1040023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0" y="6598800"/>
            <a:ext cx="31431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tx2"/>
                </a:solidFill>
              </a:rPr>
              <a:t>DER FORTSCHRITT BEGINNT BEIM WERKSTOFF</a:t>
            </a:r>
            <a:endParaRPr lang="de-DE" sz="1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107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Fließ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smtClean="0"/>
              <a:t>Das ist eine Zwischenüberschrift</a:t>
            </a:r>
            <a:endParaRPr lang="de-DE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9405" y="1544079"/>
            <a:ext cx="10581660" cy="43264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aseline="0">
                <a:latin typeface="+mn-lt"/>
              </a:defRPr>
            </a:lvl1pPr>
            <a:lvl2pPr marL="457200" indent="0">
              <a:buFontTx/>
              <a:buNone/>
              <a:defRPr sz="2000">
                <a:latin typeface="Arial Narrow" panose="020B0606020202030204" pitchFamily="34" charset="0"/>
              </a:defRPr>
            </a:lvl2pPr>
            <a:lvl3pPr marL="914400" indent="0">
              <a:buFontTx/>
              <a:buNone/>
              <a:defRPr sz="2000">
                <a:latin typeface="Arial Narrow" panose="020B0606020202030204" pitchFamily="34" charset="0"/>
              </a:defRPr>
            </a:lvl3pPr>
            <a:lvl4pPr marL="1371600" indent="0">
              <a:buFontTx/>
              <a:buNone/>
              <a:defRPr sz="2000">
                <a:latin typeface="Arial Narrow" panose="020B0606020202030204" pitchFamily="34" charset="0"/>
              </a:defRPr>
            </a:lvl4pPr>
            <a:lvl5pPr marL="1828800" indent="0">
              <a:buFontTx/>
              <a:buNone/>
              <a:defRPr sz="2000">
                <a:latin typeface="Arial Narrow" panose="020B0606020202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 ist ein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n ihm kann man sehen, ob alle Buchstaben da sind und wie sie aussehen. Manchmal benutzt man Worte wie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burgefont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fgenduk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er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dglove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Schriften zu testen. Manchmal Sätze, die alle Buchstaben des Alphabets enthalten - man nennt diese Sätze »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gram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. Sehr bekannt ist dieser: The quick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wn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x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mp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zy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Oft werden in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ch fremdsprachige Satzteile eingebaut (AVAIL®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fox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™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stin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si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rnin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um die Wirkung in anderen Sprachen zu testen. In Lateinisch sieht zum Beispiel fast jede Schrift gut aus.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o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at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onstrandum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Seit 1975 fehlen in den meisten Testtexten die Zahlen, weswegen nach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Gb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4 § ab dem Jahr 2034 Zahlen in 86 der Texte zur Pflicht werden. Nichteinhaltung wird mit bis zu 245 € oder 368 $ bestraft. Genauso wichtig in sind mittlerweile auch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Âçcèñtë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in neueren Schriften aber fast immer enthalten sind. </a:t>
            </a:r>
            <a:endParaRPr lang="de-DE" sz="2000" noProof="0" dirty="0">
              <a:latin typeface="+mn-lt"/>
            </a:endParaRPr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5" y="9368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</a:t>
            </a:r>
            <a:r>
              <a:rPr lang="de-DE" dirty="0" smtClean="0"/>
              <a:t> bearbeiten</a:t>
            </a:r>
            <a:br>
              <a:rPr lang="de-DE" dirty="0" smtClean="0"/>
            </a:br>
            <a:r>
              <a:rPr lang="de-DE" dirty="0" smtClean="0"/>
              <a:t>Mastertitelformat bearbeiten</a:t>
            </a:r>
            <a:endParaRPr lang="en-US" noProof="0" dirty="0"/>
          </a:p>
        </p:txBody>
      </p:sp>
      <p:sp>
        <p:nvSpPr>
          <p:cNvPr id="2" name="TextBox 1"/>
          <p:cNvSpPr txBox="1"/>
          <p:nvPr userDrawn="1"/>
        </p:nvSpPr>
        <p:spPr>
          <a:xfrm rot="19985116">
            <a:off x="1293079" y="3356336"/>
            <a:ext cx="87743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VAC</a:t>
            </a:r>
            <a:r>
              <a:rPr lang="es-ES" sz="2400" baseline="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 PROPETY. PERMISSION NECESSARY TO USE IT</a:t>
            </a:r>
            <a:endParaRPr lang="en-US" sz="240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41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792D634D-961B-46E3-8D23-C8185419A8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800" y="1515609"/>
            <a:ext cx="10582266" cy="4594225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800100" indent="-342900">
              <a:buSzPct val="100000"/>
              <a:buFont typeface="Arial" panose="020B0604020202020204" pitchFamily="34" charset="0"/>
              <a:buChar char="•"/>
              <a:defRPr sz="2000">
                <a:latin typeface="Arial Narrow" panose="020B0606020202030204" pitchFamily="34" charset="0"/>
              </a:defRPr>
            </a:lvl2pPr>
            <a:lvl3pPr marL="1165225" indent="-250825">
              <a:buFont typeface="Arial" panose="020B0604020202020204" pitchFamily="34" charset="0"/>
              <a:buChar char="•"/>
              <a:defRPr/>
            </a:lvl3pPr>
            <a:lvl4pPr>
              <a:defRPr/>
            </a:lvl4pPr>
          </a:lstStyle>
          <a:p>
            <a:pPr lvl="0"/>
            <a:r>
              <a:rPr lang="de-DE" noProof="0" dirty="0" smtClean="0"/>
              <a:t>Zwei flinke Boxer jagen die quirlige Eva und ihren Mops durch Sylt.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0"/>
            <a:r>
              <a:rPr lang="de-DE" noProof="0" dirty="0" smtClean="0"/>
              <a:t>Franz jagt im komplett verwahrlosten Taxi quer durch Bayern. </a:t>
            </a:r>
          </a:p>
          <a:p>
            <a:pPr lvl="0"/>
            <a:r>
              <a:rPr lang="de-DE" noProof="0" dirty="0" smtClean="0"/>
              <a:t>Vogel </a:t>
            </a:r>
            <a:r>
              <a:rPr lang="de-DE" noProof="0" dirty="0" err="1" smtClean="0"/>
              <a:t>Quax</a:t>
            </a:r>
            <a:r>
              <a:rPr lang="de-DE" noProof="0" dirty="0" smtClean="0"/>
              <a:t> zwickt Johnys Pferd Bim. Sylvia wagt quick den Jux bei Pforzheim. </a:t>
            </a:r>
          </a:p>
          <a:p>
            <a:pPr lvl="0"/>
            <a:r>
              <a:rPr lang="de-DE" noProof="0" dirty="0" smtClean="0"/>
              <a:t>Polyfon zwitschernd aßen </a:t>
            </a:r>
            <a:r>
              <a:rPr lang="de-DE" noProof="0" dirty="0" err="1" smtClean="0"/>
              <a:t>Mäxchens</a:t>
            </a:r>
            <a:r>
              <a:rPr lang="de-DE" noProof="0" dirty="0" smtClean="0"/>
              <a:t> Vögel Rüben, Joghurt und Quark. </a:t>
            </a:r>
          </a:p>
          <a:p>
            <a:pPr lvl="0"/>
            <a:r>
              <a:rPr lang="de-DE" noProof="0" dirty="0" smtClean="0"/>
              <a:t>"Fix, Schwyz!" quäkt Jürgen blöd vom </a:t>
            </a:r>
            <a:r>
              <a:rPr lang="de-DE" noProof="0" dirty="0" err="1" smtClean="0"/>
              <a:t>Paß</a:t>
            </a:r>
            <a:r>
              <a:rPr lang="de-DE" noProof="0" dirty="0" smtClean="0"/>
              <a:t>. </a:t>
            </a:r>
          </a:p>
          <a:p>
            <a:pPr lvl="0"/>
            <a:r>
              <a:rPr lang="de-DE" noProof="0" dirty="0" smtClean="0"/>
              <a:t>Victor jagt zwölf Boxkämpfer quer über den großen </a:t>
            </a:r>
            <a:r>
              <a:rPr lang="de-DE" noProof="0" dirty="0" err="1" smtClean="0"/>
              <a:t>Sylter</a:t>
            </a:r>
            <a:r>
              <a:rPr lang="de-DE" noProof="0" dirty="0" smtClean="0"/>
              <a:t> Deich. </a:t>
            </a:r>
          </a:p>
          <a:p>
            <a:pPr lvl="0"/>
            <a:r>
              <a:rPr lang="de-DE" noProof="0" dirty="0" smtClean="0"/>
              <a:t>Falsches Üben von </a:t>
            </a:r>
            <a:r>
              <a:rPr lang="de-DE" noProof="0" dirty="0" err="1" smtClean="0"/>
              <a:t>Xylophonmusik</a:t>
            </a:r>
            <a:r>
              <a:rPr lang="de-DE" noProof="0" dirty="0" smtClean="0"/>
              <a:t> quält jeden größeren Zwerg. </a:t>
            </a:r>
          </a:p>
          <a:p>
            <a:pPr lvl="0"/>
            <a:r>
              <a:rPr lang="de-DE" noProof="0" dirty="0" err="1" smtClean="0"/>
              <a:t>Heizölrückstoßabdämpfung</a:t>
            </a:r>
            <a:r>
              <a:rPr lang="de-DE" noProof="0" dirty="0" smtClean="0"/>
              <a:t>.</a:t>
            </a:r>
          </a:p>
          <a:p>
            <a:pPr lvl="4"/>
            <a:endParaRPr lang="de-DE" noProof="0" dirty="0"/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5" y="9368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 bearbeiten</a:t>
            </a:r>
            <a:br>
              <a:rPr lang="de-DE" noProof="0" dirty="0" smtClean="0"/>
            </a:br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smtClean="0"/>
              <a:t>Hier folgt eine Aufzählu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8896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8800" y="1569470"/>
            <a:ext cx="10582266" cy="4421631"/>
          </a:xfrm>
          <a:prstGeom prst="rect">
            <a:avLst/>
          </a:prstGeo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+mj-lt"/>
              <a:buAutoNum type="arabicPeriod"/>
              <a:tabLst/>
              <a:defRPr lang="en-US"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96938" indent="-449263">
              <a:buSzPct val="100000"/>
              <a:buFont typeface="+mj-lt"/>
              <a:buAutoNum type="arabicPeriod"/>
              <a:defRPr lang="en-US" sz="2000" kern="1200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71600" indent="-457200">
              <a:buSzPct val="100000"/>
              <a:buFont typeface="+mj-lt"/>
              <a:buAutoNum type="arabicPeriod"/>
              <a:defRPr>
                <a:latin typeface="Arial Narrow" panose="020B0606020202030204" pitchFamily="34" charset="0"/>
              </a:defRPr>
            </a:lvl3pPr>
            <a:lvl4pPr marL="1828800" indent="-457200">
              <a:buSzPct val="100000"/>
              <a:buAutoNum type="arabicPeriod"/>
              <a:defRPr sz="2000">
                <a:latin typeface="Arial Narrow" panose="020B0606020202030204" pitchFamily="34" charset="0"/>
              </a:defRPr>
            </a:lvl4pPr>
            <a:lvl5pPr marL="2286000" indent="-457200">
              <a:buSzPct val="100000"/>
              <a:buFont typeface="+mj-lt"/>
              <a:buAutoNum type="arabicPeriod"/>
              <a:defRPr sz="2000">
                <a:latin typeface="Arial Narrow" panose="020B0606020202030204" pitchFamily="34" charset="0"/>
              </a:defRPr>
            </a:lvl5pPr>
            <a:lvl6pPr>
              <a:buSzPct val="100000"/>
              <a:defRPr sz="2000">
                <a:latin typeface="Arial Narrow" panose="020B0606020202030204" pitchFamily="34" charset="0"/>
              </a:defRPr>
            </a:lvl6pPr>
          </a:lstStyle>
          <a:p>
            <a:pPr lvl="0"/>
            <a:r>
              <a:rPr lang="de-DE" dirty="0" smtClean="0"/>
              <a:t>Zwei flinke Boxer jagen die quirlige Eva und ihren Mops durch Sylt. 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0"/>
            <a:r>
              <a:rPr lang="de-DE" dirty="0" smtClean="0"/>
              <a:t>Franz jagt im komplett verwahrlosten Taxi quer durch Bayern. </a:t>
            </a:r>
          </a:p>
          <a:p>
            <a:pPr lvl="0"/>
            <a:r>
              <a:rPr lang="de-DE" dirty="0" smtClean="0"/>
              <a:t>Vogel </a:t>
            </a:r>
            <a:r>
              <a:rPr lang="de-DE" dirty="0" err="1" smtClean="0"/>
              <a:t>Quax</a:t>
            </a:r>
            <a:r>
              <a:rPr lang="de-DE" dirty="0" smtClean="0"/>
              <a:t> zwickt Johnys Pferd Bim. Sylvia wagt quick den Jux bei Pforzheim. </a:t>
            </a:r>
          </a:p>
          <a:p>
            <a:pPr lvl="0"/>
            <a:r>
              <a:rPr lang="de-DE" dirty="0" smtClean="0"/>
              <a:t>Polyfon zwitschernd aßen </a:t>
            </a:r>
            <a:r>
              <a:rPr lang="de-DE" dirty="0" err="1" smtClean="0"/>
              <a:t>Mäxchens</a:t>
            </a:r>
            <a:r>
              <a:rPr lang="de-DE" dirty="0" smtClean="0"/>
              <a:t> Vögel Rüben, Joghurt und Quark. </a:t>
            </a:r>
          </a:p>
          <a:p>
            <a:pPr lvl="0"/>
            <a:r>
              <a:rPr lang="de-DE" dirty="0" smtClean="0"/>
              <a:t>"Fix, Schwyz!" quäkt Jürgen blöd vom </a:t>
            </a:r>
            <a:r>
              <a:rPr lang="de-DE" dirty="0" err="1" smtClean="0"/>
              <a:t>Paß</a:t>
            </a:r>
            <a:r>
              <a:rPr lang="de-DE" dirty="0" smtClean="0"/>
              <a:t>. </a:t>
            </a:r>
          </a:p>
          <a:p>
            <a:pPr lvl="0"/>
            <a:r>
              <a:rPr lang="de-DE" dirty="0" smtClean="0"/>
              <a:t>Victor jagt zwölf Boxkämpfer quer über den großen </a:t>
            </a:r>
            <a:r>
              <a:rPr lang="de-DE" dirty="0" err="1" smtClean="0"/>
              <a:t>Sylter</a:t>
            </a:r>
            <a:r>
              <a:rPr lang="de-DE" dirty="0" smtClean="0"/>
              <a:t> Deich. </a:t>
            </a:r>
          </a:p>
          <a:p>
            <a:pPr lvl="0"/>
            <a:r>
              <a:rPr lang="de-DE" dirty="0" smtClean="0"/>
              <a:t>Falsches Üben von </a:t>
            </a:r>
            <a:r>
              <a:rPr lang="de-DE" dirty="0" err="1" smtClean="0"/>
              <a:t>Xylophonmusik</a:t>
            </a:r>
            <a:r>
              <a:rPr lang="de-DE" dirty="0" smtClean="0"/>
              <a:t> quält jeden größeren Zwerg. </a:t>
            </a:r>
          </a:p>
          <a:p>
            <a:pPr lvl="0"/>
            <a:r>
              <a:rPr lang="de-DE" dirty="0" err="1" smtClean="0"/>
              <a:t>Heizölrückstoßabdämpfung</a:t>
            </a:r>
            <a:r>
              <a:rPr lang="de-DE" dirty="0" smtClean="0"/>
              <a:t>.</a:t>
            </a:r>
          </a:p>
          <a:p>
            <a:pPr marL="514350" marR="0" lvl="0" indent="-5143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80000"/>
              <a:buFont typeface="Wingdings 2" panose="05020102010507070707" pitchFamily="18" charset="2"/>
              <a:buAutoNum type="arabicPeriod"/>
              <a:tabLst/>
              <a:defRPr/>
            </a:pPr>
            <a:endParaRPr lang="de-DE" noProof="0" dirty="0" smtClean="0"/>
          </a:p>
          <a:p>
            <a:endParaRPr lang="de-DE" noProof="0" dirty="0" smtClean="0"/>
          </a:p>
          <a:p>
            <a:endParaRPr lang="de-DE" noProof="0" dirty="0" smtClean="0"/>
          </a:p>
          <a:p>
            <a:pPr lvl="4"/>
            <a:endParaRPr lang="de-DE" noProof="0" dirty="0" smtClean="0"/>
          </a:p>
          <a:p>
            <a:pPr lvl="4"/>
            <a:endParaRPr lang="de-DE" noProof="0" dirty="0" smtClean="0"/>
          </a:p>
          <a:p>
            <a:pPr lvl="2"/>
            <a:endParaRPr lang="de-DE" noProof="0" dirty="0" smtClean="0"/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5" y="9368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 bearbeiten</a:t>
            </a:r>
            <a:br>
              <a:rPr lang="de-DE" noProof="0" dirty="0" smtClean="0"/>
            </a:br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smtClean="0"/>
              <a:t>Hier folgt eine Nummerieru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0708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7045464" y="1661650"/>
            <a:ext cx="4444180" cy="423770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000">
                <a:latin typeface="Arial Narrow" panose="020B0606020202030204" pitchFamily="34" charset="0"/>
              </a:defRPr>
            </a:lvl1pPr>
          </a:lstStyle>
          <a:p>
            <a:r>
              <a:rPr lang="de-DE" noProof="0" dirty="0" smtClean="0"/>
              <a:t>Bild</a:t>
            </a:r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7535" y="1661650"/>
            <a:ext cx="5141503" cy="423770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 ist ein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n ihm kann man sehen, ob alle Buchstaben da sind und wie sie aussehen. Manchmal benutzt man Worte wie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burgefont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fgenduk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er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dglove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Schriften zu testen. Manchmal Sätze, die alle Buchstaben des Alphabets enthalten - man nennt diese Sätze »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gram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. Sehr bekannt ist dieser: The quick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wn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x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mp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zy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de-DE" sz="2000" noProof="0" dirty="0">
              <a:latin typeface="+mn-lt"/>
            </a:endParaRPr>
          </a:p>
        </p:txBody>
      </p:sp>
      <p:sp>
        <p:nvSpPr>
          <p:cNvPr id="7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5" y="9368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dirty="0" smtClean="0"/>
              <a:t>Mastertitelformat bearbeiten</a:t>
            </a: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dirty="0" smtClean="0"/>
              <a:t>Mastertitelformat bearbeiten</a:t>
            </a:r>
            <a:endParaRPr lang="de-DE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smtClean="0"/>
              <a:t>Dies ist eine Zwischenüberschrif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78574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5" y="9368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 bearbeiten</a:t>
            </a:r>
            <a:br>
              <a:rPr lang="de-DE" noProof="0" dirty="0" smtClean="0"/>
            </a:br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smtClean="0"/>
              <a:t>Dies ist eine Zwischenüberschrif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01295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9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44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985806"/>
            <a:ext cx="5905707" cy="3054282"/>
          </a:xfrm>
          <a:prstGeom prst="rect">
            <a:avLst/>
          </a:prstGeom>
        </p:spPr>
      </p:pic>
      <p:sp>
        <p:nvSpPr>
          <p:cNvPr id="12" name="Titel 5">
            <a:extLst>
              <a:ext uri="{FF2B5EF4-FFF2-40B4-BE49-F238E27FC236}">
                <a16:creationId xmlns:a16="http://schemas.microsoft.com/office/drawing/2014/main" id="{4831C3B7-9E09-469B-A02E-193B6B7A5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10" y="2472390"/>
            <a:ext cx="5476351" cy="132556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4400"/>
              </a:lnSpc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noProof="0" dirty="0" smtClean="0"/>
              <a:t>MASTERTITELFORMAT </a:t>
            </a:r>
            <a:br>
              <a:rPr lang="de-DE" noProof="0" dirty="0" smtClean="0"/>
            </a:br>
            <a:r>
              <a:rPr lang="de-DE" noProof="0" dirty="0" smtClean="0"/>
              <a:t>BEARBEITEN</a:t>
            </a:r>
            <a:endParaRPr lang="de-DE" noProof="0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659352DB-4EB8-4BDC-8A50-1D1AA6AA3F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3802448"/>
            <a:ext cx="5465179" cy="6016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de-DE" noProof="0" dirty="0" smtClean="0"/>
              <a:t>Monat XXXX</a:t>
            </a:r>
            <a:endParaRPr lang="de-DE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1607" y="-6870"/>
            <a:ext cx="1040023" cy="1040023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0" y="6598809"/>
            <a:ext cx="33085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tx2"/>
                </a:solidFill>
              </a:rPr>
              <a:t>ADVANCED MATERIALS</a:t>
            </a:r>
            <a:r>
              <a:rPr lang="de-DE" sz="1200" b="1" baseline="0" dirty="0" smtClean="0">
                <a:solidFill>
                  <a:schemeClr val="tx2"/>
                </a:solidFill>
              </a:rPr>
              <a:t> – THE KEY TO PROGRESS</a:t>
            </a:r>
            <a:endParaRPr lang="de-DE" sz="1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325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mat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437535" y="1215509"/>
            <a:ext cx="6163290" cy="3699391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hriftart: 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dline: Calibri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ießtext: Arial Narrow</a:t>
            </a:r>
            <a:endParaRPr lang="de-DE" sz="2000" kern="1200" baseline="0" noProof="0" dirty="0" smtClean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schrift: 28 pt, fett, dunkelblau: 0/64/97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wischenüberschriften und Hervorhebungen: 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 pt, fett schwarz: 0/64/97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ießtext: 20 pt, schwarz, Zeilenabstand 1,5 </a:t>
            </a:r>
            <a:endParaRPr lang="de-DE" sz="2000" kern="1200" baseline="0" noProof="0" dirty="0" smtClean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fzählungszeichen: blaue Punkte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rben in Abstufungen (RGB-Werte):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au: dunkel: 0/64/97, mittel: 103/130/156, hell: 194/205/215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noProof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rPr>
              <a:t>dunkel: 50/110/160, mittel: 80/140/180, hell: 175/200/215</a:t>
            </a:r>
          </a:p>
          <a:p>
            <a:pPr marL="342900" lvl="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</a:pPr>
            <a:endParaRPr lang="de-DE" sz="20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1026513" y="4914900"/>
            <a:ext cx="1135356" cy="1351153"/>
            <a:chOff x="7156367" y="2799672"/>
            <a:chExt cx="1135356" cy="1351153"/>
          </a:xfrm>
        </p:grpSpPr>
        <p:sp>
          <p:nvSpPr>
            <p:cNvPr id="6" name="Richtungspfeil 5"/>
            <p:cNvSpPr/>
            <p:nvPr userDrawn="1"/>
          </p:nvSpPr>
          <p:spPr>
            <a:xfrm rot="16200000">
              <a:off x="7446297" y="3305399"/>
              <a:ext cx="1351153" cy="339699"/>
            </a:xfrm>
            <a:prstGeom prst="homePlate">
              <a:avLst/>
            </a:prstGeom>
            <a:solidFill>
              <a:srgbClr val="C2CD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7" name="Richtungspfeil 6"/>
            <p:cNvSpPr/>
            <p:nvPr userDrawn="1"/>
          </p:nvSpPr>
          <p:spPr>
            <a:xfrm rot="16200000">
              <a:off x="7079870" y="3337479"/>
              <a:ext cx="1286993" cy="339699"/>
            </a:xfrm>
            <a:prstGeom prst="homePlate">
              <a:avLst/>
            </a:prstGeom>
            <a:solidFill>
              <a:srgbClr val="6782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Richtungspfeil 8"/>
            <p:cNvSpPr/>
            <p:nvPr userDrawn="1"/>
          </p:nvSpPr>
          <p:spPr>
            <a:xfrm rot="16200000">
              <a:off x="6738197" y="3394313"/>
              <a:ext cx="1174681" cy="338342"/>
            </a:xfrm>
            <a:prstGeom prst="homePlate">
              <a:avLst/>
            </a:prstGeom>
            <a:solidFill>
              <a:srgbClr val="0040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B76AFC93-8E09-43D0-9EE2-3FC62A416AE7}"/>
              </a:ext>
            </a:extLst>
          </p:cNvPr>
          <p:cNvSpPr txBox="1"/>
          <p:nvPr userDrawn="1"/>
        </p:nvSpPr>
        <p:spPr>
          <a:xfrm>
            <a:off x="7366161" y="1285818"/>
            <a:ext cx="2616040" cy="4096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lvl="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2000" kern="1200" baseline="0" noProof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rPr>
              <a:t>Logo</a:t>
            </a:r>
            <a:endParaRPr lang="de-DE" sz="2000" kern="1200" baseline="0" noProof="0" dirty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5" y="9368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Formatvorlage Schrift</a:t>
            </a:r>
            <a:endParaRPr lang="de-DE" noProof="0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2304706" y="4922928"/>
            <a:ext cx="1135356" cy="1351153"/>
            <a:chOff x="7156367" y="2799672"/>
            <a:chExt cx="1135356" cy="1351153"/>
          </a:xfrm>
        </p:grpSpPr>
        <p:sp>
          <p:nvSpPr>
            <p:cNvPr id="13" name="Richtungspfeil 12"/>
            <p:cNvSpPr/>
            <p:nvPr userDrawn="1"/>
          </p:nvSpPr>
          <p:spPr>
            <a:xfrm rot="16200000">
              <a:off x="7446297" y="3305399"/>
              <a:ext cx="1351153" cy="339699"/>
            </a:xfrm>
            <a:prstGeom prst="homePlate">
              <a:avLst/>
            </a:prstGeom>
            <a:solidFill>
              <a:srgbClr val="AFC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4" name="Richtungspfeil 13"/>
            <p:cNvSpPr/>
            <p:nvPr userDrawn="1"/>
          </p:nvSpPr>
          <p:spPr>
            <a:xfrm rot="16200000">
              <a:off x="7079870" y="3337479"/>
              <a:ext cx="1286993" cy="339699"/>
            </a:xfrm>
            <a:prstGeom prst="homePlate">
              <a:avLst/>
            </a:prstGeom>
            <a:solidFill>
              <a:srgbClr val="508C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" name="Richtungspfeil 14"/>
            <p:cNvSpPr/>
            <p:nvPr userDrawn="1"/>
          </p:nvSpPr>
          <p:spPr>
            <a:xfrm rot="16200000">
              <a:off x="6738197" y="3394313"/>
              <a:ext cx="1174681" cy="338342"/>
            </a:xfrm>
            <a:prstGeom prst="homePlate">
              <a:avLst/>
            </a:prstGeom>
            <a:solidFill>
              <a:srgbClr val="326E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4056595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rafik 46">
            <a:extLst>
              <a:ext uri="{FF2B5EF4-FFF2-40B4-BE49-F238E27FC236}">
                <a16:creationId xmlns:a16="http://schemas.microsoft.com/office/drawing/2014/main" id="{701B1F34-DC43-46D3-BFDD-871390D62F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45" b="784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Rechteck 22"/>
          <p:cNvSpPr/>
          <p:nvPr userDrawn="1"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975D307-C802-4070-869E-C140D8B6A425}"/>
              </a:ext>
            </a:extLst>
          </p:cNvPr>
          <p:cNvGrpSpPr/>
          <p:nvPr userDrawn="1"/>
        </p:nvGrpSpPr>
        <p:grpSpPr>
          <a:xfrm>
            <a:off x="5072083" y="1554745"/>
            <a:ext cx="2324166" cy="1374950"/>
            <a:chOff x="4785787" y="2657849"/>
            <a:chExt cx="1587357" cy="939062"/>
          </a:xfrm>
          <a:solidFill>
            <a:schemeClr val="bg1"/>
          </a:solidFill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33B56F59-7B4F-4A0A-B97D-251E8A36DFF3}"/>
                </a:ext>
              </a:extLst>
            </p:cNvPr>
            <p:cNvSpPr/>
            <p:nvPr/>
          </p:nvSpPr>
          <p:spPr>
            <a:xfrm>
              <a:off x="5067787" y="2657849"/>
              <a:ext cx="817800" cy="733200"/>
            </a:xfrm>
            <a:custGeom>
              <a:avLst/>
              <a:gdLst>
                <a:gd name="connsiteX0" fmla="*/ 100489 w 276225"/>
                <a:gd name="connsiteY0" fmla="*/ 167164 h 247650"/>
                <a:gd name="connsiteX1" fmla="*/ 140494 w 276225"/>
                <a:gd name="connsiteY1" fmla="*/ 86201 h 247650"/>
                <a:gd name="connsiteX2" fmla="*/ 178594 w 276225"/>
                <a:gd name="connsiteY2" fmla="*/ 167164 h 247650"/>
                <a:gd name="connsiteX3" fmla="*/ 100489 w 276225"/>
                <a:gd name="connsiteY3" fmla="*/ 167164 h 247650"/>
                <a:gd name="connsiteX4" fmla="*/ 273844 w 276225"/>
                <a:gd name="connsiteY4" fmla="*/ 242411 h 247650"/>
                <a:gd name="connsiteX5" fmla="*/ 272891 w 276225"/>
                <a:gd name="connsiteY5" fmla="*/ 239554 h 247650"/>
                <a:gd name="connsiteX6" fmla="*/ 229076 w 276225"/>
                <a:gd name="connsiteY6" fmla="*/ 150019 h 247650"/>
                <a:gd name="connsiteX7" fmla="*/ 170974 w 276225"/>
                <a:gd name="connsiteY7" fmla="*/ 30004 h 247650"/>
                <a:gd name="connsiteX8" fmla="*/ 159544 w 276225"/>
                <a:gd name="connsiteY8" fmla="*/ 7144 h 247650"/>
                <a:gd name="connsiteX9" fmla="*/ 124301 w 276225"/>
                <a:gd name="connsiteY9" fmla="*/ 7144 h 247650"/>
                <a:gd name="connsiteX10" fmla="*/ 123349 w 276225"/>
                <a:gd name="connsiteY10" fmla="*/ 9049 h 247650"/>
                <a:gd name="connsiteX11" fmla="*/ 57626 w 276225"/>
                <a:gd name="connsiteY11" fmla="*/ 140494 h 247650"/>
                <a:gd name="connsiteX12" fmla="*/ 8096 w 276225"/>
                <a:gd name="connsiteY12" fmla="*/ 240506 h 247650"/>
                <a:gd name="connsiteX13" fmla="*/ 7144 w 276225"/>
                <a:gd name="connsiteY13" fmla="*/ 243364 h 247650"/>
                <a:gd name="connsiteX14" fmla="*/ 8096 w 276225"/>
                <a:gd name="connsiteY14" fmla="*/ 243364 h 247650"/>
                <a:gd name="connsiteX15" fmla="*/ 63341 w 276225"/>
                <a:gd name="connsiteY15" fmla="*/ 243364 h 247650"/>
                <a:gd name="connsiteX16" fmla="*/ 65246 w 276225"/>
                <a:gd name="connsiteY16" fmla="*/ 241459 h 247650"/>
                <a:gd name="connsiteX17" fmla="*/ 75724 w 276225"/>
                <a:gd name="connsiteY17" fmla="*/ 221456 h 247650"/>
                <a:gd name="connsiteX18" fmla="*/ 78581 w 276225"/>
                <a:gd name="connsiteY18" fmla="*/ 219551 h 247650"/>
                <a:gd name="connsiteX19" fmla="*/ 203359 w 276225"/>
                <a:gd name="connsiteY19" fmla="*/ 219551 h 247650"/>
                <a:gd name="connsiteX20" fmla="*/ 206216 w 276225"/>
                <a:gd name="connsiteY20" fmla="*/ 221456 h 247650"/>
                <a:gd name="connsiteX21" fmla="*/ 215741 w 276225"/>
                <a:gd name="connsiteY21" fmla="*/ 241459 h 247650"/>
                <a:gd name="connsiteX22" fmla="*/ 218599 w 276225"/>
                <a:gd name="connsiteY22" fmla="*/ 243364 h 247650"/>
                <a:gd name="connsiteX23" fmla="*/ 272891 w 276225"/>
                <a:gd name="connsiteY23" fmla="*/ 243364 h 247650"/>
                <a:gd name="connsiteX24" fmla="*/ 273844 w 276225"/>
                <a:gd name="connsiteY24" fmla="*/ 242411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6225" h="247650">
                  <a:moveTo>
                    <a:pt x="100489" y="167164"/>
                  </a:moveTo>
                  <a:cubicBezTo>
                    <a:pt x="113824" y="140494"/>
                    <a:pt x="127159" y="113824"/>
                    <a:pt x="140494" y="86201"/>
                  </a:cubicBezTo>
                  <a:cubicBezTo>
                    <a:pt x="153829" y="112871"/>
                    <a:pt x="166211" y="139541"/>
                    <a:pt x="178594" y="167164"/>
                  </a:cubicBezTo>
                  <a:lnTo>
                    <a:pt x="100489" y="167164"/>
                  </a:lnTo>
                  <a:close/>
                  <a:moveTo>
                    <a:pt x="273844" y="242411"/>
                  </a:moveTo>
                  <a:cubicBezTo>
                    <a:pt x="272891" y="241459"/>
                    <a:pt x="272891" y="240506"/>
                    <a:pt x="272891" y="239554"/>
                  </a:cubicBezTo>
                  <a:cubicBezTo>
                    <a:pt x="258604" y="210026"/>
                    <a:pt x="244316" y="179546"/>
                    <a:pt x="229076" y="150019"/>
                  </a:cubicBezTo>
                  <a:cubicBezTo>
                    <a:pt x="210026" y="110014"/>
                    <a:pt x="190024" y="70009"/>
                    <a:pt x="170974" y="30004"/>
                  </a:cubicBezTo>
                  <a:cubicBezTo>
                    <a:pt x="167164" y="22384"/>
                    <a:pt x="163354" y="14764"/>
                    <a:pt x="159544" y="7144"/>
                  </a:cubicBezTo>
                  <a:lnTo>
                    <a:pt x="124301" y="7144"/>
                  </a:lnTo>
                  <a:cubicBezTo>
                    <a:pt x="124301" y="8096"/>
                    <a:pt x="123349" y="9049"/>
                    <a:pt x="123349" y="9049"/>
                  </a:cubicBezTo>
                  <a:cubicBezTo>
                    <a:pt x="101441" y="52864"/>
                    <a:pt x="79534" y="96679"/>
                    <a:pt x="57626" y="140494"/>
                  </a:cubicBezTo>
                  <a:cubicBezTo>
                    <a:pt x="41434" y="173831"/>
                    <a:pt x="24289" y="207169"/>
                    <a:pt x="8096" y="240506"/>
                  </a:cubicBezTo>
                  <a:cubicBezTo>
                    <a:pt x="8096" y="241459"/>
                    <a:pt x="7144" y="242411"/>
                    <a:pt x="7144" y="243364"/>
                  </a:cubicBezTo>
                  <a:cubicBezTo>
                    <a:pt x="7144" y="243364"/>
                    <a:pt x="8096" y="243364"/>
                    <a:pt x="8096" y="243364"/>
                  </a:cubicBezTo>
                  <a:cubicBezTo>
                    <a:pt x="26194" y="243364"/>
                    <a:pt x="45244" y="243364"/>
                    <a:pt x="63341" y="243364"/>
                  </a:cubicBezTo>
                  <a:cubicBezTo>
                    <a:pt x="64294" y="243364"/>
                    <a:pt x="65246" y="242411"/>
                    <a:pt x="65246" y="241459"/>
                  </a:cubicBezTo>
                  <a:cubicBezTo>
                    <a:pt x="69056" y="234791"/>
                    <a:pt x="71914" y="228124"/>
                    <a:pt x="75724" y="221456"/>
                  </a:cubicBezTo>
                  <a:cubicBezTo>
                    <a:pt x="76676" y="220504"/>
                    <a:pt x="76676" y="219551"/>
                    <a:pt x="78581" y="219551"/>
                  </a:cubicBezTo>
                  <a:cubicBezTo>
                    <a:pt x="120491" y="219551"/>
                    <a:pt x="161449" y="219551"/>
                    <a:pt x="203359" y="219551"/>
                  </a:cubicBezTo>
                  <a:cubicBezTo>
                    <a:pt x="204311" y="219551"/>
                    <a:pt x="205264" y="219551"/>
                    <a:pt x="206216" y="221456"/>
                  </a:cubicBezTo>
                  <a:cubicBezTo>
                    <a:pt x="209074" y="228124"/>
                    <a:pt x="212884" y="234791"/>
                    <a:pt x="215741" y="241459"/>
                  </a:cubicBezTo>
                  <a:cubicBezTo>
                    <a:pt x="216694" y="242411"/>
                    <a:pt x="217646" y="243364"/>
                    <a:pt x="218599" y="243364"/>
                  </a:cubicBezTo>
                  <a:cubicBezTo>
                    <a:pt x="236696" y="243364"/>
                    <a:pt x="254794" y="243364"/>
                    <a:pt x="272891" y="243364"/>
                  </a:cubicBezTo>
                  <a:cubicBezTo>
                    <a:pt x="271939" y="242411"/>
                    <a:pt x="272891" y="242411"/>
                    <a:pt x="273844" y="24241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F97DDC0-E70C-4A8F-8326-3B2D521E8926}"/>
                </a:ext>
              </a:extLst>
            </p:cNvPr>
            <p:cNvSpPr/>
            <p:nvPr/>
          </p:nvSpPr>
          <p:spPr>
            <a:xfrm>
              <a:off x="4788609" y="2657849"/>
              <a:ext cx="535800" cy="733200"/>
            </a:xfrm>
            <a:custGeom>
              <a:avLst/>
              <a:gdLst>
                <a:gd name="connsiteX0" fmla="*/ 180499 w 180975"/>
                <a:gd name="connsiteY0" fmla="*/ 7144 h 247650"/>
                <a:gd name="connsiteX1" fmla="*/ 124301 w 180975"/>
                <a:gd name="connsiteY1" fmla="*/ 7144 h 247650"/>
                <a:gd name="connsiteX2" fmla="*/ 107156 w 180975"/>
                <a:gd name="connsiteY2" fmla="*/ 40481 h 247650"/>
                <a:gd name="connsiteX3" fmla="*/ 61436 w 180975"/>
                <a:gd name="connsiteY3" fmla="*/ 131921 h 247650"/>
                <a:gd name="connsiteX4" fmla="*/ 60484 w 180975"/>
                <a:gd name="connsiteY4" fmla="*/ 133826 h 247650"/>
                <a:gd name="connsiteX5" fmla="*/ 59531 w 180975"/>
                <a:gd name="connsiteY5" fmla="*/ 133826 h 247650"/>
                <a:gd name="connsiteX6" fmla="*/ 59531 w 180975"/>
                <a:gd name="connsiteY6" fmla="*/ 123349 h 247650"/>
                <a:gd name="connsiteX7" fmla="*/ 58579 w 180975"/>
                <a:gd name="connsiteY7" fmla="*/ 63341 h 247650"/>
                <a:gd name="connsiteX8" fmla="*/ 57626 w 180975"/>
                <a:gd name="connsiteY8" fmla="*/ 10001 h 247650"/>
                <a:gd name="connsiteX9" fmla="*/ 57626 w 180975"/>
                <a:gd name="connsiteY9" fmla="*/ 7144 h 247650"/>
                <a:gd name="connsiteX10" fmla="*/ 7144 w 180975"/>
                <a:gd name="connsiteY10" fmla="*/ 7144 h 247650"/>
                <a:gd name="connsiteX11" fmla="*/ 7144 w 180975"/>
                <a:gd name="connsiteY11" fmla="*/ 9049 h 247650"/>
                <a:gd name="connsiteX12" fmla="*/ 7144 w 180975"/>
                <a:gd name="connsiteY12" fmla="*/ 240506 h 247650"/>
                <a:gd name="connsiteX13" fmla="*/ 7144 w 180975"/>
                <a:gd name="connsiteY13" fmla="*/ 242411 h 247650"/>
                <a:gd name="connsiteX14" fmla="*/ 8096 w 180975"/>
                <a:gd name="connsiteY14" fmla="*/ 242411 h 247650"/>
                <a:gd name="connsiteX15" fmla="*/ 62389 w 180975"/>
                <a:gd name="connsiteY15" fmla="*/ 242411 h 247650"/>
                <a:gd name="connsiteX16" fmla="*/ 64294 w 180975"/>
                <a:gd name="connsiteY16" fmla="*/ 240506 h 247650"/>
                <a:gd name="connsiteX17" fmla="*/ 111919 w 180975"/>
                <a:gd name="connsiteY17" fmla="*/ 144304 h 247650"/>
                <a:gd name="connsiteX18" fmla="*/ 180499 w 180975"/>
                <a:gd name="connsiteY18" fmla="*/ 714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0975" h="247650">
                  <a:moveTo>
                    <a:pt x="180499" y="7144"/>
                  </a:moveTo>
                  <a:lnTo>
                    <a:pt x="124301" y="7144"/>
                  </a:lnTo>
                  <a:cubicBezTo>
                    <a:pt x="118586" y="18574"/>
                    <a:pt x="112871" y="29051"/>
                    <a:pt x="107156" y="40481"/>
                  </a:cubicBezTo>
                  <a:cubicBezTo>
                    <a:pt x="91916" y="70961"/>
                    <a:pt x="76676" y="101441"/>
                    <a:pt x="61436" y="131921"/>
                  </a:cubicBezTo>
                  <a:cubicBezTo>
                    <a:pt x="61436" y="132874"/>
                    <a:pt x="60484" y="133826"/>
                    <a:pt x="60484" y="133826"/>
                  </a:cubicBezTo>
                  <a:cubicBezTo>
                    <a:pt x="60484" y="133826"/>
                    <a:pt x="59531" y="133826"/>
                    <a:pt x="59531" y="133826"/>
                  </a:cubicBezTo>
                  <a:cubicBezTo>
                    <a:pt x="59531" y="130016"/>
                    <a:pt x="59531" y="127159"/>
                    <a:pt x="59531" y="123349"/>
                  </a:cubicBezTo>
                  <a:cubicBezTo>
                    <a:pt x="59531" y="103346"/>
                    <a:pt x="58579" y="83344"/>
                    <a:pt x="58579" y="63341"/>
                  </a:cubicBezTo>
                  <a:cubicBezTo>
                    <a:pt x="58579" y="45244"/>
                    <a:pt x="57626" y="28099"/>
                    <a:pt x="57626" y="10001"/>
                  </a:cubicBezTo>
                  <a:cubicBezTo>
                    <a:pt x="57626" y="9049"/>
                    <a:pt x="57626" y="8096"/>
                    <a:pt x="57626" y="7144"/>
                  </a:cubicBezTo>
                  <a:lnTo>
                    <a:pt x="7144" y="7144"/>
                  </a:lnTo>
                  <a:cubicBezTo>
                    <a:pt x="7144" y="8096"/>
                    <a:pt x="7144" y="8096"/>
                    <a:pt x="7144" y="9049"/>
                  </a:cubicBezTo>
                  <a:cubicBezTo>
                    <a:pt x="7144" y="86201"/>
                    <a:pt x="7144" y="163354"/>
                    <a:pt x="7144" y="240506"/>
                  </a:cubicBezTo>
                  <a:cubicBezTo>
                    <a:pt x="7144" y="241459"/>
                    <a:pt x="7144" y="242411"/>
                    <a:pt x="7144" y="242411"/>
                  </a:cubicBezTo>
                  <a:cubicBezTo>
                    <a:pt x="7144" y="242411"/>
                    <a:pt x="7144" y="242411"/>
                    <a:pt x="8096" y="242411"/>
                  </a:cubicBezTo>
                  <a:cubicBezTo>
                    <a:pt x="26194" y="242411"/>
                    <a:pt x="44291" y="242411"/>
                    <a:pt x="62389" y="242411"/>
                  </a:cubicBezTo>
                  <a:cubicBezTo>
                    <a:pt x="63341" y="242411"/>
                    <a:pt x="64294" y="241459"/>
                    <a:pt x="64294" y="240506"/>
                  </a:cubicBezTo>
                  <a:cubicBezTo>
                    <a:pt x="80486" y="208121"/>
                    <a:pt x="96679" y="175736"/>
                    <a:pt x="111919" y="144304"/>
                  </a:cubicBezTo>
                  <a:cubicBezTo>
                    <a:pt x="135731" y="98584"/>
                    <a:pt x="157639" y="52864"/>
                    <a:pt x="180499" y="714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9B488CC-C310-4F50-8184-3EF9AA151FE8}"/>
                </a:ext>
              </a:extLst>
            </p:cNvPr>
            <p:cNvSpPr/>
            <p:nvPr/>
          </p:nvSpPr>
          <p:spPr>
            <a:xfrm>
              <a:off x="5697256" y="2657849"/>
              <a:ext cx="507600" cy="733200"/>
            </a:xfrm>
            <a:custGeom>
              <a:avLst/>
              <a:gdLst>
                <a:gd name="connsiteX0" fmla="*/ 90759 w 171450"/>
                <a:gd name="connsiteY0" fmla="*/ 224314 h 247650"/>
                <a:gd name="connsiteX1" fmla="*/ 105046 w 171450"/>
                <a:gd name="connsiteY1" fmla="*/ 238601 h 247650"/>
                <a:gd name="connsiteX2" fmla="*/ 125049 w 171450"/>
                <a:gd name="connsiteY2" fmla="*/ 242411 h 247650"/>
                <a:gd name="connsiteX3" fmla="*/ 166006 w 171450"/>
                <a:gd name="connsiteY3" fmla="*/ 242411 h 247650"/>
                <a:gd name="connsiteX4" fmla="*/ 167911 w 171450"/>
                <a:gd name="connsiteY4" fmla="*/ 242411 h 247650"/>
                <a:gd name="connsiteX5" fmla="*/ 167911 w 171450"/>
                <a:gd name="connsiteY5" fmla="*/ 190024 h 247650"/>
                <a:gd name="connsiteX6" fmla="*/ 166959 w 171450"/>
                <a:gd name="connsiteY6" fmla="*/ 190024 h 247650"/>
                <a:gd name="connsiteX7" fmla="*/ 145051 w 171450"/>
                <a:gd name="connsiteY7" fmla="*/ 190024 h 247650"/>
                <a:gd name="connsiteX8" fmla="*/ 129811 w 171450"/>
                <a:gd name="connsiteY8" fmla="*/ 180499 h 247650"/>
                <a:gd name="connsiteX9" fmla="*/ 78376 w 171450"/>
                <a:gd name="connsiteY9" fmla="*/ 72866 h 247650"/>
                <a:gd name="connsiteX10" fmla="*/ 75519 w 171450"/>
                <a:gd name="connsiteY10" fmla="*/ 66199 h 247650"/>
                <a:gd name="connsiteX11" fmla="*/ 79329 w 171450"/>
                <a:gd name="connsiteY11" fmla="*/ 59531 h 247650"/>
                <a:gd name="connsiteX12" fmla="*/ 86949 w 171450"/>
                <a:gd name="connsiteY12" fmla="*/ 58579 h 247650"/>
                <a:gd name="connsiteX13" fmla="*/ 165054 w 171450"/>
                <a:gd name="connsiteY13" fmla="*/ 58579 h 247650"/>
                <a:gd name="connsiteX14" fmla="*/ 167911 w 171450"/>
                <a:gd name="connsiteY14" fmla="*/ 58579 h 247650"/>
                <a:gd name="connsiteX15" fmla="*/ 167911 w 171450"/>
                <a:gd name="connsiteY15" fmla="*/ 7144 h 247650"/>
                <a:gd name="connsiteX16" fmla="*/ 38371 w 171450"/>
                <a:gd name="connsiteY16" fmla="*/ 7144 h 247650"/>
                <a:gd name="connsiteX17" fmla="*/ 31704 w 171450"/>
                <a:gd name="connsiteY17" fmla="*/ 8096 h 247650"/>
                <a:gd name="connsiteX18" fmla="*/ 7891 w 171450"/>
                <a:gd name="connsiteY18" fmla="*/ 30004 h 247650"/>
                <a:gd name="connsiteX19" fmla="*/ 11701 w 171450"/>
                <a:gd name="connsiteY19" fmla="*/ 56674 h 247650"/>
                <a:gd name="connsiteX20" fmla="*/ 90759 w 171450"/>
                <a:gd name="connsiteY20" fmla="*/ 22431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1450" h="247650">
                  <a:moveTo>
                    <a:pt x="90759" y="224314"/>
                  </a:moveTo>
                  <a:cubicBezTo>
                    <a:pt x="93616" y="230981"/>
                    <a:pt x="98379" y="235744"/>
                    <a:pt x="105046" y="238601"/>
                  </a:cubicBezTo>
                  <a:cubicBezTo>
                    <a:pt x="111714" y="241459"/>
                    <a:pt x="118381" y="242411"/>
                    <a:pt x="125049" y="242411"/>
                  </a:cubicBezTo>
                  <a:cubicBezTo>
                    <a:pt x="138384" y="242411"/>
                    <a:pt x="151719" y="242411"/>
                    <a:pt x="166006" y="242411"/>
                  </a:cubicBezTo>
                  <a:cubicBezTo>
                    <a:pt x="166959" y="242411"/>
                    <a:pt x="166959" y="242411"/>
                    <a:pt x="167911" y="242411"/>
                  </a:cubicBezTo>
                  <a:lnTo>
                    <a:pt x="167911" y="190024"/>
                  </a:lnTo>
                  <a:cubicBezTo>
                    <a:pt x="166959" y="190024"/>
                    <a:pt x="166959" y="190024"/>
                    <a:pt x="166959" y="190024"/>
                  </a:cubicBezTo>
                  <a:cubicBezTo>
                    <a:pt x="159339" y="190024"/>
                    <a:pt x="152671" y="190024"/>
                    <a:pt x="145051" y="190024"/>
                  </a:cubicBezTo>
                  <a:cubicBezTo>
                    <a:pt x="137431" y="190024"/>
                    <a:pt x="132669" y="187166"/>
                    <a:pt x="129811" y="180499"/>
                  </a:cubicBezTo>
                  <a:cubicBezTo>
                    <a:pt x="112666" y="144304"/>
                    <a:pt x="95521" y="109061"/>
                    <a:pt x="78376" y="72866"/>
                  </a:cubicBezTo>
                  <a:cubicBezTo>
                    <a:pt x="77424" y="70961"/>
                    <a:pt x="76471" y="69056"/>
                    <a:pt x="75519" y="66199"/>
                  </a:cubicBezTo>
                  <a:cubicBezTo>
                    <a:pt x="74566" y="63341"/>
                    <a:pt x="75519" y="60484"/>
                    <a:pt x="79329" y="59531"/>
                  </a:cubicBezTo>
                  <a:cubicBezTo>
                    <a:pt x="81234" y="58579"/>
                    <a:pt x="84091" y="58579"/>
                    <a:pt x="86949" y="58579"/>
                  </a:cubicBezTo>
                  <a:cubicBezTo>
                    <a:pt x="112666" y="58579"/>
                    <a:pt x="139336" y="58579"/>
                    <a:pt x="165054" y="58579"/>
                  </a:cubicBezTo>
                  <a:lnTo>
                    <a:pt x="167911" y="58579"/>
                  </a:lnTo>
                  <a:lnTo>
                    <a:pt x="167911" y="7144"/>
                  </a:lnTo>
                  <a:lnTo>
                    <a:pt x="38371" y="7144"/>
                  </a:lnTo>
                  <a:cubicBezTo>
                    <a:pt x="36466" y="7144"/>
                    <a:pt x="33609" y="8096"/>
                    <a:pt x="31704" y="8096"/>
                  </a:cubicBezTo>
                  <a:cubicBezTo>
                    <a:pt x="19321" y="10954"/>
                    <a:pt x="10749" y="17621"/>
                    <a:pt x="7891" y="30004"/>
                  </a:cubicBezTo>
                  <a:cubicBezTo>
                    <a:pt x="5986" y="39529"/>
                    <a:pt x="7891" y="48101"/>
                    <a:pt x="11701" y="56674"/>
                  </a:cubicBezTo>
                  <a:cubicBezTo>
                    <a:pt x="38371" y="112871"/>
                    <a:pt x="64089" y="168116"/>
                    <a:pt x="90759" y="22431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84A6A1B4-9D5B-4392-AA23-AC3F882C06D0}"/>
                </a:ext>
              </a:extLst>
            </p:cNvPr>
            <p:cNvSpPr/>
            <p:nvPr/>
          </p:nvSpPr>
          <p:spPr>
            <a:xfrm>
              <a:off x="5062147" y="3424889"/>
              <a:ext cx="84600" cy="169200"/>
            </a:xfrm>
            <a:custGeom>
              <a:avLst/>
              <a:gdLst>
                <a:gd name="connsiteX0" fmla="*/ 21431 w 28575"/>
                <a:gd name="connsiteY0" fmla="*/ 8096 h 57150"/>
                <a:gd name="connsiteX1" fmla="*/ 21431 w 28575"/>
                <a:gd name="connsiteY1" fmla="*/ 10954 h 57150"/>
                <a:gd name="connsiteX2" fmla="*/ 21431 w 28575"/>
                <a:gd name="connsiteY2" fmla="*/ 40481 h 57150"/>
                <a:gd name="connsiteX3" fmla="*/ 21431 w 28575"/>
                <a:gd name="connsiteY3" fmla="*/ 43339 h 57150"/>
                <a:gd name="connsiteX4" fmla="*/ 17621 w 28575"/>
                <a:gd name="connsiteY4" fmla="*/ 46196 h 57150"/>
                <a:gd name="connsiteX5" fmla="*/ 13811 w 28575"/>
                <a:gd name="connsiteY5" fmla="*/ 43339 h 57150"/>
                <a:gd name="connsiteX6" fmla="*/ 13811 w 28575"/>
                <a:gd name="connsiteY6" fmla="*/ 40481 h 57150"/>
                <a:gd name="connsiteX7" fmla="*/ 13811 w 28575"/>
                <a:gd name="connsiteY7" fmla="*/ 10001 h 57150"/>
                <a:gd name="connsiteX8" fmla="*/ 13811 w 28575"/>
                <a:gd name="connsiteY8" fmla="*/ 7144 h 57150"/>
                <a:gd name="connsiteX9" fmla="*/ 7144 w 28575"/>
                <a:gd name="connsiteY9" fmla="*/ 7144 h 57150"/>
                <a:gd name="connsiteX10" fmla="*/ 7144 w 28575"/>
                <a:gd name="connsiteY10" fmla="*/ 8096 h 57150"/>
                <a:gd name="connsiteX11" fmla="*/ 7144 w 28575"/>
                <a:gd name="connsiteY11" fmla="*/ 41434 h 57150"/>
                <a:gd name="connsiteX12" fmla="*/ 13811 w 28575"/>
                <a:gd name="connsiteY12" fmla="*/ 52864 h 57150"/>
                <a:gd name="connsiteX13" fmla="*/ 20479 w 28575"/>
                <a:gd name="connsiteY13" fmla="*/ 52864 h 57150"/>
                <a:gd name="connsiteX14" fmla="*/ 27146 w 28575"/>
                <a:gd name="connsiteY14" fmla="*/ 42386 h 57150"/>
                <a:gd name="connsiteX15" fmla="*/ 27146 w 28575"/>
                <a:gd name="connsiteY15" fmla="*/ 9049 h 57150"/>
                <a:gd name="connsiteX16" fmla="*/ 27146 w 28575"/>
                <a:gd name="connsiteY16" fmla="*/ 8096 h 57150"/>
                <a:gd name="connsiteX17" fmla="*/ 21431 w 28575"/>
                <a:gd name="connsiteY17" fmla="*/ 809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57150">
                  <a:moveTo>
                    <a:pt x="21431" y="8096"/>
                  </a:moveTo>
                  <a:lnTo>
                    <a:pt x="21431" y="10954"/>
                  </a:lnTo>
                  <a:cubicBezTo>
                    <a:pt x="21431" y="20479"/>
                    <a:pt x="21431" y="30956"/>
                    <a:pt x="21431" y="40481"/>
                  </a:cubicBezTo>
                  <a:cubicBezTo>
                    <a:pt x="21431" y="41434"/>
                    <a:pt x="21431" y="42386"/>
                    <a:pt x="21431" y="43339"/>
                  </a:cubicBezTo>
                  <a:cubicBezTo>
                    <a:pt x="21431" y="45244"/>
                    <a:pt x="19526" y="46196"/>
                    <a:pt x="17621" y="46196"/>
                  </a:cubicBezTo>
                  <a:cubicBezTo>
                    <a:pt x="15716" y="46196"/>
                    <a:pt x="13811" y="45244"/>
                    <a:pt x="13811" y="43339"/>
                  </a:cubicBezTo>
                  <a:cubicBezTo>
                    <a:pt x="13811" y="42386"/>
                    <a:pt x="13811" y="41434"/>
                    <a:pt x="13811" y="40481"/>
                  </a:cubicBezTo>
                  <a:cubicBezTo>
                    <a:pt x="13811" y="30004"/>
                    <a:pt x="13811" y="19526"/>
                    <a:pt x="13811" y="10001"/>
                  </a:cubicBezTo>
                  <a:cubicBezTo>
                    <a:pt x="13811" y="9049"/>
                    <a:pt x="13811" y="8096"/>
                    <a:pt x="13811" y="7144"/>
                  </a:cubicBezTo>
                  <a:lnTo>
                    <a:pt x="7144" y="7144"/>
                  </a:lnTo>
                  <a:cubicBezTo>
                    <a:pt x="7144" y="7144"/>
                    <a:pt x="7144" y="7144"/>
                    <a:pt x="7144" y="8096"/>
                  </a:cubicBezTo>
                  <a:cubicBezTo>
                    <a:pt x="7144" y="19526"/>
                    <a:pt x="7144" y="30004"/>
                    <a:pt x="7144" y="41434"/>
                  </a:cubicBezTo>
                  <a:cubicBezTo>
                    <a:pt x="7144" y="46196"/>
                    <a:pt x="8096" y="50959"/>
                    <a:pt x="13811" y="52864"/>
                  </a:cubicBezTo>
                  <a:lnTo>
                    <a:pt x="20479" y="52864"/>
                  </a:lnTo>
                  <a:cubicBezTo>
                    <a:pt x="25241" y="50959"/>
                    <a:pt x="27146" y="47149"/>
                    <a:pt x="27146" y="42386"/>
                  </a:cubicBezTo>
                  <a:cubicBezTo>
                    <a:pt x="27146" y="30956"/>
                    <a:pt x="27146" y="20479"/>
                    <a:pt x="27146" y="9049"/>
                  </a:cubicBezTo>
                  <a:cubicBezTo>
                    <a:pt x="27146" y="9049"/>
                    <a:pt x="27146" y="8096"/>
                    <a:pt x="27146" y="8096"/>
                  </a:cubicBezTo>
                  <a:lnTo>
                    <a:pt x="21431" y="8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E9FA02F2-101B-4069-B351-091F437A418A}"/>
                </a:ext>
              </a:extLst>
            </p:cNvPr>
            <p:cNvSpPr/>
            <p:nvPr/>
          </p:nvSpPr>
          <p:spPr>
            <a:xfrm>
              <a:off x="5172129" y="3424889"/>
              <a:ext cx="84600" cy="169200"/>
            </a:xfrm>
            <a:custGeom>
              <a:avLst/>
              <a:gdLst>
                <a:gd name="connsiteX0" fmla="*/ 26194 w 28575"/>
                <a:gd name="connsiteY0" fmla="*/ 8096 h 57150"/>
                <a:gd name="connsiteX1" fmla="*/ 20479 w 28575"/>
                <a:gd name="connsiteY1" fmla="*/ 8096 h 57150"/>
                <a:gd name="connsiteX2" fmla="*/ 20479 w 28575"/>
                <a:gd name="connsiteY2" fmla="*/ 10954 h 57150"/>
                <a:gd name="connsiteX3" fmla="*/ 20479 w 28575"/>
                <a:gd name="connsiteY3" fmla="*/ 40481 h 57150"/>
                <a:gd name="connsiteX4" fmla="*/ 20479 w 28575"/>
                <a:gd name="connsiteY4" fmla="*/ 43339 h 57150"/>
                <a:gd name="connsiteX5" fmla="*/ 16669 w 28575"/>
                <a:gd name="connsiteY5" fmla="*/ 46196 h 57150"/>
                <a:gd name="connsiteX6" fmla="*/ 12859 w 28575"/>
                <a:gd name="connsiteY6" fmla="*/ 43339 h 57150"/>
                <a:gd name="connsiteX7" fmla="*/ 12859 w 28575"/>
                <a:gd name="connsiteY7" fmla="*/ 39529 h 57150"/>
                <a:gd name="connsiteX8" fmla="*/ 12859 w 28575"/>
                <a:gd name="connsiteY8" fmla="*/ 10001 h 57150"/>
                <a:gd name="connsiteX9" fmla="*/ 12859 w 28575"/>
                <a:gd name="connsiteY9" fmla="*/ 7144 h 57150"/>
                <a:gd name="connsiteX10" fmla="*/ 7144 w 28575"/>
                <a:gd name="connsiteY10" fmla="*/ 7144 h 57150"/>
                <a:gd name="connsiteX11" fmla="*/ 7144 w 28575"/>
                <a:gd name="connsiteY11" fmla="*/ 8096 h 57150"/>
                <a:gd name="connsiteX12" fmla="*/ 7144 w 28575"/>
                <a:gd name="connsiteY12" fmla="*/ 40481 h 57150"/>
                <a:gd name="connsiteX13" fmla="*/ 13811 w 28575"/>
                <a:gd name="connsiteY13" fmla="*/ 50959 h 57150"/>
                <a:gd name="connsiteX14" fmla="*/ 19526 w 28575"/>
                <a:gd name="connsiteY14" fmla="*/ 50959 h 57150"/>
                <a:gd name="connsiteX15" fmla="*/ 27146 w 28575"/>
                <a:gd name="connsiteY15" fmla="*/ 40481 h 57150"/>
                <a:gd name="connsiteX16" fmla="*/ 26194 w 28575"/>
                <a:gd name="connsiteY16" fmla="*/ 8096 h 57150"/>
                <a:gd name="connsiteX17" fmla="*/ 26194 w 28575"/>
                <a:gd name="connsiteY17" fmla="*/ 809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57150">
                  <a:moveTo>
                    <a:pt x="26194" y="8096"/>
                  </a:moveTo>
                  <a:lnTo>
                    <a:pt x="20479" y="8096"/>
                  </a:lnTo>
                  <a:lnTo>
                    <a:pt x="20479" y="10954"/>
                  </a:lnTo>
                  <a:cubicBezTo>
                    <a:pt x="20479" y="20479"/>
                    <a:pt x="20479" y="30956"/>
                    <a:pt x="20479" y="40481"/>
                  </a:cubicBezTo>
                  <a:cubicBezTo>
                    <a:pt x="20479" y="41434"/>
                    <a:pt x="20479" y="42386"/>
                    <a:pt x="20479" y="43339"/>
                  </a:cubicBezTo>
                  <a:cubicBezTo>
                    <a:pt x="20479" y="45244"/>
                    <a:pt x="18574" y="46196"/>
                    <a:pt x="16669" y="46196"/>
                  </a:cubicBezTo>
                  <a:cubicBezTo>
                    <a:pt x="14764" y="46196"/>
                    <a:pt x="12859" y="45244"/>
                    <a:pt x="12859" y="43339"/>
                  </a:cubicBezTo>
                  <a:cubicBezTo>
                    <a:pt x="12859" y="42386"/>
                    <a:pt x="12859" y="41434"/>
                    <a:pt x="12859" y="39529"/>
                  </a:cubicBezTo>
                  <a:cubicBezTo>
                    <a:pt x="12859" y="30004"/>
                    <a:pt x="12859" y="19526"/>
                    <a:pt x="12859" y="10001"/>
                  </a:cubicBezTo>
                  <a:cubicBezTo>
                    <a:pt x="12859" y="9049"/>
                    <a:pt x="12859" y="8096"/>
                    <a:pt x="12859" y="7144"/>
                  </a:cubicBezTo>
                  <a:lnTo>
                    <a:pt x="7144" y="7144"/>
                  </a:lnTo>
                  <a:cubicBezTo>
                    <a:pt x="7144" y="7144"/>
                    <a:pt x="7144" y="8096"/>
                    <a:pt x="7144" y="8096"/>
                  </a:cubicBezTo>
                  <a:cubicBezTo>
                    <a:pt x="7144" y="18574"/>
                    <a:pt x="7144" y="30004"/>
                    <a:pt x="7144" y="40481"/>
                  </a:cubicBezTo>
                  <a:cubicBezTo>
                    <a:pt x="7144" y="45244"/>
                    <a:pt x="9049" y="50006"/>
                    <a:pt x="13811" y="50959"/>
                  </a:cubicBezTo>
                  <a:lnTo>
                    <a:pt x="19526" y="50959"/>
                  </a:lnTo>
                  <a:cubicBezTo>
                    <a:pt x="25241" y="50006"/>
                    <a:pt x="27146" y="45244"/>
                    <a:pt x="27146" y="40481"/>
                  </a:cubicBezTo>
                  <a:cubicBezTo>
                    <a:pt x="26194" y="30956"/>
                    <a:pt x="26194" y="19526"/>
                    <a:pt x="26194" y="8096"/>
                  </a:cubicBezTo>
                  <a:cubicBezTo>
                    <a:pt x="26194" y="8096"/>
                    <a:pt x="26194" y="8096"/>
                    <a:pt x="26194" y="8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3F867A8-71C3-4AB0-BF38-6D67D208A446}"/>
                </a:ext>
              </a:extLst>
            </p:cNvPr>
            <p:cNvSpPr/>
            <p:nvPr/>
          </p:nvSpPr>
          <p:spPr>
            <a:xfrm>
              <a:off x="6203944" y="2660434"/>
              <a:ext cx="169200" cy="169200"/>
            </a:xfrm>
            <a:custGeom>
              <a:avLst/>
              <a:gdLst>
                <a:gd name="connsiteX0" fmla="*/ 31059 w 57150"/>
                <a:gd name="connsiteY0" fmla="*/ 51991 h 57150"/>
                <a:gd name="connsiteX1" fmla="*/ 10104 w 57150"/>
                <a:gd name="connsiteY1" fmla="*/ 31036 h 57150"/>
                <a:gd name="connsiteX2" fmla="*/ 31059 w 57150"/>
                <a:gd name="connsiteY2" fmla="*/ 10081 h 57150"/>
                <a:gd name="connsiteX3" fmla="*/ 52014 w 57150"/>
                <a:gd name="connsiteY3" fmla="*/ 31036 h 57150"/>
                <a:gd name="connsiteX4" fmla="*/ 31059 w 57150"/>
                <a:gd name="connsiteY4" fmla="*/ 51991 h 57150"/>
                <a:gd name="connsiteX5" fmla="*/ 55824 w 57150"/>
                <a:gd name="connsiteY5" fmla="*/ 26274 h 57150"/>
                <a:gd name="connsiteX6" fmla="*/ 29154 w 57150"/>
                <a:gd name="connsiteY6" fmla="*/ 7224 h 57150"/>
                <a:gd name="connsiteX7" fmla="*/ 7247 w 57150"/>
                <a:gd name="connsiteY7" fmla="*/ 29131 h 57150"/>
                <a:gd name="connsiteX8" fmla="*/ 21534 w 57150"/>
                <a:gd name="connsiteY8" fmla="*/ 53896 h 57150"/>
                <a:gd name="connsiteX9" fmla="*/ 49157 w 57150"/>
                <a:gd name="connsiteY9" fmla="*/ 48181 h 57150"/>
                <a:gd name="connsiteX10" fmla="*/ 55824 w 57150"/>
                <a:gd name="connsiteY10" fmla="*/ 35799 h 57150"/>
                <a:gd name="connsiteX11" fmla="*/ 55824 w 57150"/>
                <a:gd name="connsiteY11" fmla="*/ 26274 h 57150"/>
                <a:gd name="connsiteX12" fmla="*/ 55824 w 57150"/>
                <a:gd name="connsiteY12" fmla="*/ 2627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57150">
                  <a:moveTo>
                    <a:pt x="31059" y="51991"/>
                  </a:moveTo>
                  <a:cubicBezTo>
                    <a:pt x="19629" y="51991"/>
                    <a:pt x="10104" y="42466"/>
                    <a:pt x="10104" y="31036"/>
                  </a:cubicBezTo>
                  <a:cubicBezTo>
                    <a:pt x="10104" y="19606"/>
                    <a:pt x="19629" y="10081"/>
                    <a:pt x="31059" y="10081"/>
                  </a:cubicBezTo>
                  <a:cubicBezTo>
                    <a:pt x="42489" y="10081"/>
                    <a:pt x="52014" y="19606"/>
                    <a:pt x="52014" y="31036"/>
                  </a:cubicBezTo>
                  <a:cubicBezTo>
                    <a:pt x="52014" y="42466"/>
                    <a:pt x="43442" y="51991"/>
                    <a:pt x="31059" y="51991"/>
                  </a:cubicBezTo>
                  <a:moveTo>
                    <a:pt x="55824" y="26274"/>
                  </a:moveTo>
                  <a:cubicBezTo>
                    <a:pt x="52967" y="13891"/>
                    <a:pt x="42489" y="6271"/>
                    <a:pt x="29154" y="7224"/>
                  </a:cubicBezTo>
                  <a:cubicBezTo>
                    <a:pt x="17724" y="8176"/>
                    <a:pt x="8199" y="17701"/>
                    <a:pt x="7247" y="29131"/>
                  </a:cubicBezTo>
                  <a:cubicBezTo>
                    <a:pt x="6294" y="39609"/>
                    <a:pt x="12009" y="49134"/>
                    <a:pt x="21534" y="53896"/>
                  </a:cubicBezTo>
                  <a:cubicBezTo>
                    <a:pt x="31059" y="57706"/>
                    <a:pt x="42489" y="55801"/>
                    <a:pt x="49157" y="48181"/>
                  </a:cubicBezTo>
                  <a:cubicBezTo>
                    <a:pt x="52014" y="44371"/>
                    <a:pt x="53919" y="40561"/>
                    <a:pt x="55824" y="35799"/>
                  </a:cubicBezTo>
                  <a:lnTo>
                    <a:pt x="55824" y="26274"/>
                  </a:lnTo>
                  <a:cubicBezTo>
                    <a:pt x="55824" y="27226"/>
                    <a:pt x="55824" y="27226"/>
                    <a:pt x="55824" y="2627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6AC157A-5C62-457B-BFB2-38D9727A1393}"/>
                </a:ext>
              </a:extLst>
            </p:cNvPr>
            <p:cNvSpPr/>
            <p:nvPr/>
          </p:nvSpPr>
          <p:spPr>
            <a:xfrm>
              <a:off x="4785787" y="3424889"/>
              <a:ext cx="84600" cy="169200"/>
            </a:xfrm>
            <a:custGeom>
              <a:avLst/>
              <a:gdLst>
                <a:gd name="connsiteX0" fmla="*/ 18574 w 28575"/>
                <a:gd name="connsiteY0" fmla="*/ 39529 h 57150"/>
                <a:gd name="connsiteX1" fmla="*/ 18574 w 28575"/>
                <a:gd name="connsiteY1" fmla="*/ 39529 h 57150"/>
                <a:gd name="connsiteX2" fmla="*/ 12859 w 28575"/>
                <a:gd name="connsiteY2" fmla="*/ 8096 h 57150"/>
                <a:gd name="connsiteX3" fmla="*/ 7144 w 28575"/>
                <a:gd name="connsiteY3" fmla="*/ 8096 h 57150"/>
                <a:gd name="connsiteX4" fmla="*/ 7144 w 28575"/>
                <a:gd name="connsiteY4" fmla="*/ 10001 h 57150"/>
                <a:gd name="connsiteX5" fmla="*/ 8096 w 28575"/>
                <a:gd name="connsiteY5" fmla="*/ 10954 h 57150"/>
                <a:gd name="connsiteX6" fmla="*/ 15716 w 28575"/>
                <a:gd name="connsiteY6" fmla="*/ 50006 h 57150"/>
                <a:gd name="connsiteX7" fmla="*/ 18574 w 28575"/>
                <a:gd name="connsiteY7" fmla="*/ 51911 h 57150"/>
                <a:gd name="connsiteX8" fmla="*/ 21431 w 28575"/>
                <a:gd name="connsiteY8" fmla="*/ 50006 h 57150"/>
                <a:gd name="connsiteX9" fmla="*/ 28099 w 28575"/>
                <a:gd name="connsiteY9" fmla="*/ 15716 h 57150"/>
                <a:gd name="connsiteX10" fmla="*/ 30004 w 28575"/>
                <a:gd name="connsiteY10" fmla="*/ 7144 h 57150"/>
                <a:gd name="connsiteX11" fmla="*/ 23336 w 28575"/>
                <a:gd name="connsiteY11" fmla="*/ 7144 h 57150"/>
                <a:gd name="connsiteX12" fmla="*/ 18574 w 28575"/>
                <a:gd name="connsiteY12" fmla="*/ 3952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575" h="57150">
                  <a:moveTo>
                    <a:pt x="18574" y="39529"/>
                  </a:moveTo>
                  <a:cubicBezTo>
                    <a:pt x="18574" y="39529"/>
                    <a:pt x="17621" y="39529"/>
                    <a:pt x="18574" y="39529"/>
                  </a:cubicBezTo>
                  <a:cubicBezTo>
                    <a:pt x="16669" y="29051"/>
                    <a:pt x="14764" y="18574"/>
                    <a:pt x="12859" y="8096"/>
                  </a:cubicBezTo>
                  <a:lnTo>
                    <a:pt x="7144" y="8096"/>
                  </a:lnTo>
                  <a:lnTo>
                    <a:pt x="7144" y="10001"/>
                  </a:lnTo>
                  <a:cubicBezTo>
                    <a:pt x="7144" y="10001"/>
                    <a:pt x="7144" y="10954"/>
                    <a:pt x="8096" y="10954"/>
                  </a:cubicBezTo>
                  <a:cubicBezTo>
                    <a:pt x="10954" y="24289"/>
                    <a:pt x="12859" y="37624"/>
                    <a:pt x="15716" y="50006"/>
                  </a:cubicBezTo>
                  <a:cubicBezTo>
                    <a:pt x="15716" y="51911"/>
                    <a:pt x="16669" y="51911"/>
                    <a:pt x="18574" y="51911"/>
                  </a:cubicBezTo>
                  <a:cubicBezTo>
                    <a:pt x="19526" y="51911"/>
                    <a:pt x="21431" y="52864"/>
                    <a:pt x="21431" y="50006"/>
                  </a:cubicBezTo>
                  <a:cubicBezTo>
                    <a:pt x="23336" y="38576"/>
                    <a:pt x="26194" y="27146"/>
                    <a:pt x="28099" y="15716"/>
                  </a:cubicBezTo>
                  <a:cubicBezTo>
                    <a:pt x="29051" y="12859"/>
                    <a:pt x="29051" y="10001"/>
                    <a:pt x="30004" y="7144"/>
                  </a:cubicBezTo>
                  <a:lnTo>
                    <a:pt x="23336" y="7144"/>
                  </a:lnTo>
                  <a:cubicBezTo>
                    <a:pt x="21431" y="18574"/>
                    <a:pt x="20479" y="29051"/>
                    <a:pt x="18574" y="3952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4F598EAB-6618-4519-89F3-DC5501850C83}"/>
                </a:ext>
              </a:extLst>
            </p:cNvPr>
            <p:cNvSpPr/>
            <p:nvPr/>
          </p:nvSpPr>
          <p:spPr>
            <a:xfrm>
              <a:off x="5400547" y="3427210"/>
              <a:ext cx="84600" cy="169200"/>
            </a:xfrm>
            <a:custGeom>
              <a:avLst/>
              <a:gdLst>
                <a:gd name="connsiteX0" fmla="*/ 15716 w 28575"/>
                <a:gd name="connsiteY0" fmla="*/ 22552 h 57150"/>
                <a:gd name="connsiteX1" fmla="*/ 14764 w 28575"/>
                <a:gd name="connsiteY1" fmla="*/ 13980 h 57150"/>
                <a:gd name="connsiteX2" fmla="*/ 22384 w 28575"/>
                <a:gd name="connsiteY2" fmla="*/ 13027 h 57150"/>
                <a:gd name="connsiteX3" fmla="*/ 23336 w 28575"/>
                <a:gd name="connsiteY3" fmla="*/ 13980 h 57150"/>
                <a:gd name="connsiteX4" fmla="*/ 23336 w 28575"/>
                <a:gd name="connsiteY4" fmla="*/ 9217 h 57150"/>
                <a:gd name="connsiteX5" fmla="*/ 22384 w 28575"/>
                <a:gd name="connsiteY5" fmla="*/ 8265 h 57150"/>
                <a:gd name="connsiteX6" fmla="*/ 8096 w 28575"/>
                <a:gd name="connsiteY6" fmla="*/ 13980 h 57150"/>
                <a:gd name="connsiteX7" fmla="*/ 10954 w 28575"/>
                <a:gd name="connsiteY7" fmla="*/ 28267 h 57150"/>
                <a:gd name="connsiteX8" fmla="*/ 15716 w 28575"/>
                <a:gd name="connsiteY8" fmla="*/ 33030 h 57150"/>
                <a:gd name="connsiteX9" fmla="*/ 19526 w 28575"/>
                <a:gd name="connsiteY9" fmla="*/ 38745 h 57150"/>
                <a:gd name="connsiteX10" fmla="*/ 17621 w 28575"/>
                <a:gd name="connsiteY10" fmla="*/ 46365 h 57150"/>
                <a:gd name="connsiteX11" fmla="*/ 10001 w 28575"/>
                <a:gd name="connsiteY11" fmla="*/ 46365 h 57150"/>
                <a:gd name="connsiteX12" fmla="*/ 8096 w 28575"/>
                <a:gd name="connsiteY12" fmla="*/ 45412 h 57150"/>
                <a:gd name="connsiteX13" fmla="*/ 11906 w 28575"/>
                <a:gd name="connsiteY13" fmla="*/ 53032 h 57150"/>
                <a:gd name="connsiteX14" fmla="*/ 18574 w 28575"/>
                <a:gd name="connsiteY14" fmla="*/ 53032 h 57150"/>
                <a:gd name="connsiteX15" fmla="*/ 26194 w 28575"/>
                <a:gd name="connsiteY15" fmla="*/ 43507 h 57150"/>
                <a:gd name="connsiteX16" fmla="*/ 22384 w 28575"/>
                <a:gd name="connsiteY16" fmla="*/ 31125 h 57150"/>
                <a:gd name="connsiteX17" fmla="*/ 15716 w 28575"/>
                <a:gd name="connsiteY17" fmla="*/ 2255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57150">
                  <a:moveTo>
                    <a:pt x="15716" y="22552"/>
                  </a:moveTo>
                  <a:cubicBezTo>
                    <a:pt x="13811" y="19695"/>
                    <a:pt x="12859" y="15885"/>
                    <a:pt x="14764" y="13980"/>
                  </a:cubicBezTo>
                  <a:cubicBezTo>
                    <a:pt x="16669" y="12075"/>
                    <a:pt x="19526" y="11122"/>
                    <a:pt x="22384" y="13027"/>
                  </a:cubicBezTo>
                  <a:cubicBezTo>
                    <a:pt x="22384" y="13027"/>
                    <a:pt x="23336" y="13027"/>
                    <a:pt x="23336" y="13980"/>
                  </a:cubicBezTo>
                  <a:cubicBezTo>
                    <a:pt x="23336" y="12075"/>
                    <a:pt x="23336" y="10170"/>
                    <a:pt x="23336" y="9217"/>
                  </a:cubicBezTo>
                  <a:cubicBezTo>
                    <a:pt x="23336" y="9217"/>
                    <a:pt x="22384" y="8265"/>
                    <a:pt x="22384" y="8265"/>
                  </a:cubicBezTo>
                  <a:cubicBezTo>
                    <a:pt x="16669" y="5407"/>
                    <a:pt x="10001" y="8265"/>
                    <a:pt x="8096" y="13980"/>
                  </a:cubicBezTo>
                  <a:cubicBezTo>
                    <a:pt x="6191" y="18742"/>
                    <a:pt x="7144" y="23505"/>
                    <a:pt x="10954" y="28267"/>
                  </a:cubicBezTo>
                  <a:cubicBezTo>
                    <a:pt x="12859" y="30172"/>
                    <a:pt x="13811" y="31125"/>
                    <a:pt x="15716" y="33030"/>
                  </a:cubicBezTo>
                  <a:cubicBezTo>
                    <a:pt x="16669" y="34935"/>
                    <a:pt x="18574" y="36840"/>
                    <a:pt x="19526" y="38745"/>
                  </a:cubicBezTo>
                  <a:cubicBezTo>
                    <a:pt x="20479" y="41602"/>
                    <a:pt x="20479" y="44460"/>
                    <a:pt x="17621" y="46365"/>
                  </a:cubicBezTo>
                  <a:cubicBezTo>
                    <a:pt x="15716" y="48270"/>
                    <a:pt x="12859" y="47317"/>
                    <a:pt x="10001" y="46365"/>
                  </a:cubicBezTo>
                  <a:cubicBezTo>
                    <a:pt x="9049" y="46365"/>
                    <a:pt x="9049" y="45412"/>
                    <a:pt x="8096" y="45412"/>
                  </a:cubicBezTo>
                  <a:cubicBezTo>
                    <a:pt x="8096" y="51127"/>
                    <a:pt x="8096" y="51127"/>
                    <a:pt x="11906" y="53032"/>
                  </a:cubicBezTo>
                  <a:lnTo>
                    <a:pt x="18574" y="53032"/>
                  </a:lnTo>
                  <a:cubicBezTo>
                    <a:pt x="23336" y="51127"/>
                    <a:pt x="26194" y="48270"/>
                    <a:pt x="26194" y="43507"/>
                  </a:cubicBezTo>
                  <a:cubicBezTo>
                    <a:pt x="27146" y="38745"/>
                    <a:pt x="25241" y="34935"/>
                    <a:pt x="22384" y="31125"/>
                  </a:cubicBezTo>
                  <a:cubicBezTo>
                    <a:pt x="20479" y="27315"/>
                    <a:pt x="18574" y="24457"/>
                    <a:pt x="15716" y="2255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03CB9E43-E4A8-4A0D-8F58-9C401DBD8DE9}"/>
                </a:ext>
              </a:extLst>
            </p:cNvPr>
            <p:cNvSpPr/>
            <p:nvPr/>
          </p:nvSpPr>
          <p:spPr>
            <a:xfrm>
              <a:off x="4967235" y="3423906"/>
              <a:ext cx="84600" cy="169200"/>
            </a:xfrm>
            <a:custGeom>
              <a:avLst/>
              <a:gdLst>
                <a:gd name="connsiteX0" fmla="*/ 15389 w 28575"/>
                <a:gd name="connsiteY0" fmla="*/ 41766 h 57150"/>
                <a:gd name="connsiteX1" fmla="*/ 15389 w 28575"/>
                <a:gd name="connsiteY1" fmla="*/ 17953 h 57150"/>
                <a:gd name="connsiteX2" fmla="*/ 24914 w 28575"/>
                <a:gd name="connsiteY2" fmla="*/ 13191 h 57150"/>
                <a:gd name="connsiteX3" fmla="*/ 25867 w 28575"/>
                <a:gd name="connsiteY3" fmla="*/ 13191 h 57150"/>
                <a:gd name="connsiteX4" fmla="*/ 25867 w 28575"/>
                <a:gd name="connsiteY4" fmla="*/ 10333 h 57150"/>
                <a:gd name="connsiteX5" fmla="*/ 23962 w 28575"/>
                <a:gd name="connsiteY5" fmla="*/ 7476 h 57150"/>
                <a:gd name="connsiteX6" fmla="*/ 11579 w 28575"/>
                <a:gd name="connsiteY6" fmla="*/ 12238 h 57150"/>
                <a:gd name="connsiteX7" fmla="*/ 8722 w 28575"/>
                <a:gd name="connsiteY7" fmla="*/ 17953 h 57150"/>
                <a:gd name="connsiteX8" fmla="*/ 7769 w 28575"/>
                <a:gd name="connsiteY8" fmla="*/ 39861 h 57150"/>
                <a:gd name="connsiteX9" fmla="*/ 17294 w 28575"/>
                <a:gd name="connsiteY9" fmla="*/ 53196 h 57150"/>
                <a:gd name="connsiteX10" fmla="*/ 23009 w 28575"/>
                <a:gd name="connsiteY10" fmla="*/ 53196 h 57150"/>
                <a:gd name="connsiteX11" fmla="*/ 24914 w 28575"/>
                <a:gd name="connsiteY11" fmla="*/ 47481 h 57150"/>
                <a:gd name="connsiteX12" fmla="*/ 15389 w 28575"/>
                <a:gd name="connsiteY12" fmla="*/ 4176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575" h="57150">
                  <a:moveTo>
                    <a:pt x="15389" y="41766"/>
                  </a:moveTo>
                  <a:cubicBezTo>
                    <a:pt x="12532" y="34146"/>
                    <a:pt x="12532" y="25573"/>
                    <a:pt x="15389" y="17953"/>
                  </a:cubicBezTo>
                  <a:cubicBezTo>
                    <a:pt x="16342" y="13191"/>
                    <a:pt x="20152" y="11286"/>
                    <a:pt x="24914" y="13191"/>
                  </a:cubicBezTo>
                  <a:cubicBezTo>
                    <a:pt x="24914" y="13191"/>
                    <a:pt x="25867" y="13191"/>
                    <a:pt x="25867" y="13191"/>
                  </a:cubicBezTo>
                  <a:cubicBezTo>
                    <a:pt x="25867" y="12238"/>
                    <a:pt x="25867" y="11286"/>
                    <a:pt x="25867" y="10333"/>
                  </a:cubicBezTo>
                  <a:cubicBezTo>
                    <a:pt x="25867" y="8428"/>
                    <a:pt x="24914" y="8428"/>
                    <a:pt x="23962" y="7476"/>
                  </a:cubicBezTo>
                  <a:cubicBezTo>
                    <a:pt x="19199" y="6523"/>
                    <a:pt x="13484" y="7476"/>
                    <a:pt x="11579" y="12238"/>
                  </a:cubicBezTo>
                  <a:cubicBezTo>
                    <a:pt x="10627" y="14143"/>
                    <a:pt x="9674" y="16048"/>
                    <a:pt x="8722" y="17953"/>
                  </a:cubicBezTo>
                  <a:cubicBezTo>
                    <a:pt x="6817" y="25573"/>
                    <a:pt x="6817" y="32241"/>
                    <a:pt x="7769" y="39861"/>
                  </a:cubicBezTo>
                  <a:cubicBezTo>
                    <a:pt x="8722" y="45576"/>
                    <a:pt x="11579" y="50338"/>
                    <a:pt x="17294" y="53196"/>
                  </a:cubicBezTo>
                  <a:lnTo>
                    <a:pt x="23009" y="53196"/>
                  </a:lnTo>
                  <a:cubicBezTo>
                    <a:pt x="25867" y="52243"/>
                    <a:pt x="25867" y="51291"/>
                    <a:pt x="24914" y="47481"/>
                  </a:cubicBezTo>
                  <a:cubicBezTo>
                    <a:pt x="20152" y="47481"/>
                    <a:pt x="16342" y="46528"/>
                    <a:pt x="15389" y="4176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675E0916-E4E3-4907-86A7-C8E6A30BF52C}"/>
                </a:ext>
              </a:extLst>
            </p:cNvPr>
            <p:cNvSpPr/>
            <p:nvPr/>
          </p:nvSpPr>
          <p:spPr>
            <a:xfrm>
              <a:off x="5498139" y="3424889"/>
              <a:ext cx="84600" cy="169200"/>
            </a:xfrm>
            <a:custGeom>
              <a:avLst/>
              <a:gdLst>
                <a:gd name="connsiteX0" fmla="*/ 14186 w 28575"/>
                <a:gd name="connsiteY0" fmla="*/ 39529 h 57150"/>
                <a:gd name="connsiteX1" fmla="*/ 13234 w 28575"/>
                <a:gd name="connsiteY1" fmla="*/ 24289 h 57150"/>
                <a:gd name="connsiteX2" fmla="*/ 15139 w 28575"/>
                <a:gd name="connsiteY2" fmla="*/ 16669 h 57150"/>
                <a:gd name="connsiteX3" fmla="*/ 23711 w 28575"/>
                <a:gd name="connsiteY3" fmla="*/ 13811 h 57150"/>
                <a:gd name="connsiteX4" fmla="*/ 25616 w 28575"/>
                <a:gd name="connsiteY4" fmla="*/ 13811 h 57150"/>
                <a:gd name="connsiteX5" fmla="*/ 19901 w 28575"/>
                <a:gd name="connsiteY5" fmla="*/ 7144 h 57150"/>
                <a:gd name="connsiteX6" fmla="*/ 9424 w 28575"/>
                <a:gd name="connsiteY6" fmla="*/ 15716 h 57150"/>
                <a:gd name="connsiteX7" fmla="*/ 8471 w 28575"/>
                <a:gd name="connsiteY7" fmla="*/ 39529 h 57150"/>
                <a:gd name="connsiteX8" fmla="*/ 17996 w 28575"/>
                <a:gd name="connsiteY8" fmla="*/ 51911 h 57150"/>
                <a:gd name="connsiteX9" fmla="*/ 23711 w 28575"/>
                <a:gd name="connsiteY9" fmla="*/ 51911 h 57150"/>
                <a:gd name="connsiteX10" fmla="*/ 25616 w 28575"/>
                <a:gd name="connsiteY10" fmla="*/ 46196 h 57150"/>
                <a:gd name="connsiteX11" fmla="*/ 14186 w 28575"/>
                <a:gd name="connsiteY11" fmla="*/ 3952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14186" y="39529"/>
                  </a:moveTo>
                  <a:cubicBezTo>
                    <a:pt x="13234" y="34766"/>
                    <a:pt x="13234" y="30004"/>
                    <a:pt x="13234" y="24289"/>
                  </a:cubicBezTo>
                  <a:cubicBezTo>
                    <a:pt x="13234" y="21431"/>
                    <a:pt x="14186" y="18574"/>
                    <a:pt x="15139" y="16669"/>
                  </a:cubicBezTo>
                  <a:cubicBezTo>
                    <a:pt x="17044" y="12859"/>
                    <a:pt x="19901" y="11906"/>
                    <a:pt x="23711" y="13811"/>
                  </a:cubicBezTo>
                  <a:cubicBezTo>
                    <a:pt x="23711" y="13811"/>
                    <a:pt x="24664" y="13811"/>
                    <a:pt x="25616" y="13811"/>
                  </a:cubicBezTo>
                  <a:cubicBezTo>
                    <a:pt x="26569" y="8096"/>
                    <a:pt x="24664" y="7144"/>
                    <a:pt x="19901" y="7144"/>
                  </a:cubicBezTo>
                  <a:cubicBezTo>
                    <a:pt x="14186" y="7144"/>
                    <a:pt x="11329" y="10954"/>
                    <a:pt x="9424" y="15716"/>
                  </a:cubicBezTo>
                  <a:cubicBezTo>
                    <a:pt x="6566" y="23336"/>
                    <a:pt x="6566" y="31909"/>
                    <a:pt x="8471" y="39529"/>
                  </a:cubicBezTo>
                  <a:cubicBezTo>
                    <a:pt x="9424" y="45244"/>
                    <a:pt x="12281" y="50006"/>
                    <a:pt x="17996" y="51911"/>
                  </a:cubicBezTo>
                  <a:lnTo>
                    <a:pt x="23711" y="51911"/>
                  </a:lnTo>
                  <a:cubicBezTo>
                    <a:pt x="26569" y="50006"/>
                    <a:pt x="26569" y="50006"/>
                    <a:pt x="25616" y="46196"/>
                  </a:cubicBezTo>
                  <a:cubicBezTo>
                    <a:pt x="18949" y="47149"/>
                    <a:pt x="15139" y="45244"/>
                    <a:pt x="14186" y="3952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C03772DD-A35B-4FF7-8D9E-7BFF82CBCA88}"/>
                </a:ext>
              </a:extLst>
            </p:cNvPr>
            <p:cNvSpPr/>
            <p:nvPr/>
          </p:nvSpPr>
          <p:spPr>
            <a:xfrm>
              <a:off x="5702289" y="3423418"/>
              <a:ext cx="112800" cy="169200"/>
            </a:xfrm>
            <a:custGeom>
              <a:avLst/>
              <a:gdLst>
                <a:gd name="connsiteX0" fmla="*/ 28099 w 38100"/>
                <a:gd name="connsiteY0" fmla="*/ 7641 h 57150"/>
                <a:gd name="connsiteX1" fmla="*/ 22384 w 38100"/>
                <a:gd name="connsiteY1" fmla="*/ 38121 h 57150"/>
                <a:gd name="connsiteX2" fmla="*/ 21431 w 38100"/>
                <a:gd name="connsiteY2" fmla="*/ 36216 h 57150"/>
                <a:gd name="connsiteX3" fmla="*/ 16669 w 38100"/>
                <a:gd name="connsiteY3" fmla="*/ 11451 h 57150"/>
                <a:gd name="connsiteX4" fmla="*/ 10954 w 38100"/>
                <a:gd name="connsiteY4" fmla="*/ 7641 h 57150"/>
                <a:gd name="connsiteX5" fmla="*/ 10954 w 38100"/>
                <a:gd name="connsiteY5" fmla="*/ 7641 h 57150"/>
                <a:gd name="connsiteX6" fmla="*/ 7144 w 38100"/>
                <a:gd name="connsiteY6" fmla="*/ 51456 h 57150"/>
                <a:gd name="connsiteX7" fmla="*/ 12859 w 38100"/>
                <a:gd name="connsiteY7" fmla="*/ 51456 h 57150"/>
                <a:gd name="connsiteX8" fmla="*/ 14764 w 38100"/>
                <a:gd name="connsiteY8" fmla="*/ 22881 h 57150"/>
                <a:gd name="connsiteX9" fmla="*/ 14764 w 38100"/>
                <a:gd name="connsiteY9" fmla="*/ 22881 h 57150"/>
                <a:gd name="connsiteX10" fmla="*/ 20479 w 38100"/>
                <a:gd name="connsiteY10" fmla="*/ 51456 h 57150"/>
                <a:gd name="connsiteX11" fmla="*/ 24289 w 38100"/>
                <a:gd name="connsiteY11" fmla="*/ 51456 h 57150"/>
                <a:gd name="connsiteX12" fmla="*/ 30004 w 38100"/>
                <a:gd name="connsiteY12" fmla="*/ 23834 h 57150"/>
                <a:gd name="connsiteX13" fmla="*/ 30004 w 38100"/>
                <a:gd name="connsiteY13" fmla="*/ 23834 h 57150"/>
                <a:gd name="connsiteX14" fmla="*/ 30956 w 38100"/>
                <a:gd name="connsiteY14" fmla="*/ 51456 h 57150"/>
                <a:gd name="connsiteX15" fmla="*/ 36671 w 38100"/>
                <a:gd name="connsiteY15" fmla="*/ 51456 h 57150"/>
                <a:gd name="connsiteX16" fmla="*/ 32861 w 38100"/>
                <a:gd name="connsiteY16" fmla="*/ 7641 h 57150"/>
                <a:gd name="connsiteX17" fmla="*/ 28099 w 38100"/>
                <a:gd name="connsiteY17" fmla="*/ 7641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100" h="57150">
                  <a:moveTo>
                    <a:pt x="28099" y="7641"/>
                  </a:moveTo>
                  <a:cubicBezTo>
                    <a:pt x="26194" y="17166"/>
                    <a:pt x="24289" y="27644"/>
                    <a:pt x="22384" y="38121"/>
                  </a:cubicBezTo>
                  <a:cubicBezTo>
                    <a:pt x="22384" y="37169"/>
                    <a:pt x="22384" y="37169"/>
                    <a:pt x="21431" y="36216"/>
                  </a:cubicBezTo>
                  <a:cubicBezTo>
                    <a:pt x="19526" y="27644"/>
                    <a:pt x="18574" y="20024"/>
                    <a:pt x="16669" y="11451"/>
                  </a:cubicBezTo>
                  <a:cubicBezTo>
                    <a:pt x="15716" y="6689"/>
                    <a:pt x="15716" y="6689"/>
                    <a:pt x="10954" y="7641"/>
                  </a:cubicBezTo>
                  <a:cubicBezTo>
                    <a:pt x="10954" y="7641"/>
                    <a:pt x="10954" y="7641"/>
                    <a:pt x="10954" y="7641"/>
                  </a:cubicBezTo>
                  <a:cubicBezTo>
                    <a:pt x="10001" y="21929"/>
                    <a:pt x="8096" y="36216"/>
                    <a:pt x="7144" y="51456"/>
                  </a:cubicBezTo>
                  <a:lnTo>
                    <a:pt x="12859" y="51456"/>
                  </a:lnTo>
                  <a:cubicBezTo>
                    <a:pt x="13811" y="41931"/>
                    <a:pt x="13811" y="32406"/>
                    <a:pt x="14764" y="22881"/>
                  </a:cubicBezTo>
                  <a:cubicBezTo>
                    <a:pt x="14764" y="22881"/>
                    <a:pt x="14764" y="22881"/>
                    <a:pt x="14764" y="22881"/>
                  </a:cubicBezTo>
                  <a:cubicBezTo>
                    <a:pt x="16669" y="32406"/>
                    <a:pt x="18574" y="41931"/>
                    <a:pt x="20479" y="51456"/>
                  </a:cubicBezTo>
                  <a:lnTo>
                    <a:pt x="24289" y="51456"/>
                  </a:lnTo>
                  <a:cubicBezTo>
                    <a:pt x="26194" y="41931"/>
                    <a:pt x="28099" y="33359"/>
                    <a:pt x="30004" y="23834"/>
                  </a:cubicBezTo>
                  <a:cubicBezTo>
                    <a:pt x="30004" y="23834"/>
                    <a:pt x="30004" y="23834"/>
                    <a:pt x="30004" y="23834"/>
                  </a:cubicBezTo>
                  <a:cubicBezTo>
                    <a:pt x="30004" y="33359"/>
                    <a:pt x="30956" y="41931"/>
                    <a:pt x="30956" y="51456"/>
                  </a:cubicBezTo>
                  <a:lnTo>
                    <a:pt x="36671" y="51456"/>
                  </a:lnTo>
                  <a:cubicBezTo>
                    <a:pt x="35719" y="37169"/>
                    <a:pt x="33814" y="21929"/>
                    <a:pt x="32861" y="7641"/>
                  </a:cubicBezTo>
                  <a:lnTo>
                    <a:pt x="28099" y="76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5473FD-FF60-478C-A030-E7E30FA1AD2D}"/>
                </a:ext>
              </a:extLst>
            </p:cNvPr>
            <p:cNvSpPr/>
            <p:nvPr/>
          </p:nvSpPr>
          <p:spPr>
            <a:xfrm>
              <a:off x="5276467" y="3427711"/>
              <a:ext cx="112800" cy="169200"/>
            </a:xfrm>
            <a:custGeom>
              <a:avLst/>
              <a:gdLst>
                <a:gd name="connsiteX0" fmla="*/ 27146 w 38100"/>
                <a:gd name="connsiteY0" fmla="*/ 7144 h 57150"/>
                <a:gd name="connsiteX1" fmla="*/ 21431 w 38100"/>
                <a:gd name="connsiteY1" fmla="*/ 37624 h 57150"/>
                <a:gd name="connsiteX2" fmla="*/ 21431 w 38100"/>
                <a:gd name="connsiteY2" fmla="*/ 37624 h 57150"/>
                <a:gd name="connsiteX3" fmla="*/ 15716 w 38100"/>
                <a:gd name="connsiteY3" fmla="*/ 7144 h 57150"/>
                <a:gd name="connsiteX4" fmla="*/ 10954 w 38100"/>
                <a:gd name="connsiteY4" fmla="*/ 7144 h 57150"/>
                <a:gd name="connsiteX5" fmla="*/ 7144 w 38100"/>
                <a:gd name="connsiteY5" fmla="*/ 50959 h 57150"/>
                <a:gd name="connsiteX6" fmla="*/ 12859 w 38100"/>
                <a:gd name="connsiteY6" fmla="*/ 50959 h 57150"/>
                <a:gd name="connsiteX7" fmla="*/ 14764 w 38100"/>
                <a:gd name="connsiteY7" fmla="*/ 22384 h 57150"/>
                <a:gd name="connsiteX8" fmla="*/ 20479 w 38100"/>
                <a:gd name="connsiteY8" fmla="*/ 49054 h 57150"/>
                <a:gd name="connsiteX9" fmla="*/ 22384 w 38100"/>
                <a:gd name="connsiteY9" fmla="*/ 50959 h 57150"/>
                <a:gd name="connsiteX10" fmla="*/ 24289 w 38100"/>
                <a:gd name="connsiteY10" fmla="*/ 50959 h 57150"/>
                <a:gd name="connsiteX11" fmla="*/ 29051 w 38100"/>
                <a:gd name="connsiteY11" fmla="*/ 23336 h 57150"/>
                <a:gd name="connsiteX12" fmla="*/ 29051 w 38100"/>
                <a:gd name="connsiteY12" fmla="*/ 23336 h 57150"/>
                <a:gd name="connsiteX13" fmla="*/ 30956 w 38100"/>
                <a:gd name="connsiteY13" fmla="*/ 50959 h 57150"/>
                <a:gd name="connsiteX14" fmla="*/ 36671 w 38100"/>
                <a:gd name="connsiteY14" fmla="*/ 50959 h 57150"/>
                <a:gd name="connsiteX15" fmla="*/ 32861 w 38100"/>
                <a:gd name="connsiteY15" fmla="*/ 7144 h 57150"/>
                <a:gd name="connsiteX16" fmla="*/ 27146 w 38100"/>
                <a:gd name="connsiteY16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100" h="57150">
                  <a:moveTo>
                    <a:pt x="27146" y="7144"/>
                  </a:moveTo>
                  <a:cubicBezTo>
                    <a:pt x="25241" y="17621"/>
                    <a:pt x="23336" y="27146"/>
                    <a:pt x="21431" y="37624"/>
                  </a:cubicBezTo>
                  <a:cubicBezTo>
                    <a:pt x="21431" y="37624"/>
                    <a:pt x="21431" y="37624"/>
                    <a:pt x="21431" y="37624"/>
                  </a:cubicBezTo>
                  <a:cubicBezTo>
                    <a:pt x="19526" y="27146"/>
                    <a:pt x="17621" y="17621"/>
                    <a:pt x="15716" y="7144"/>
                  </a:cubicBezTo>
                  <a:lnTo>
                    <a:pt x="10954" y="7144"/>
                  </a:lnTo>
                  <a:cubicBezTo>
                    <a:pt x="10001" y="22384"/>
                    <a:pt x="8096" y="36671"/>
                    <a:pt x="7144" y="50959"/>
                  </a:cubicBezTo>
                  <a:lnTo>
                    <a:pt x="12859" y="50959"/>
                  </a:lnTo>
                  <a:cubicBezTo>
                    <a:pt x="13811" y="41434"/>
                    <a:pt x="13811" y="31909"/>
                    <a:pt x="14764" y="22384"/>
                  </a:cubicBezTo>
                  <a:cubicBezTo>
                    <a:pt x="16669" y="30956"/>
                    <a:pt x="18574" y="40481"/>
                    <a:pt x="20479" y="49054"/>
                  </a:cubicBezTo>
                  <a:cubicBezTo>
                    <a:pt x="20479" y="50959"/>
                    <a:pt x="21431" y="50959"/>
                    <a:pt x="22384" y="50959"/>
                  </a:cubicBezTo>
                  <a:cubicBezTo>
                    <a:pt x="23336" y="50959"/>
                    <a:pt x="23336" y="50959"/>
                    <a:pt x="24289" y="50959"/>
                  </a:cubicBezTo>
                  <a:cubicBezTo>
                    <a:pt x="26194" y="41434"/>
                    <a:pt x="28099" y="32861"/>
                    <a:pt x="29051" y="23336"/>
                  </a:cubicBezTo>
                  <a:cubicBezTo>
                    <a:pt x="29051" y="23336"/>
                    <a:pt x="29051" y="23336"/>
                    <a:pt x="29051" y="23336"/>
                  </a:cubicBezTo>
                  <a:cubicBezTo>
                    <a:pt x="30004" y="31909"/>
                    <a:pt x="30004" y="41434"/>
                    <a:pt x="30956" y="50959"/>
                  </a:cubicBezTo>
                  <a:lnTo>
                    <a:pt x="36671" y="50959"/>
                  </a:lnTo>
                  <a:cubicBezTo>
                    <a:pt x="35719" y="36671"/>
                    <a:pt x="33814" y="21431"/>
                    <a:pt x="32861" y="7144"/>
                  </a:cubicBezTo>
                  <a:lnTo>
                    <a:pt x="27146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A97D55BB-09E2-42A4-AA40-9553DC659ED3}"/>
                </a:ext>
              </a:extLst>
            </p:cNvPr>
            <p:cNvSpPr/>
            <p:nvPr/>
          </p:nvSpPr>
          <p:spPr>
            <a:xfrm>
              <a:off x="5597947" y="3424889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1911 h 57150"/>
                <a:gd name="connsiteX2" fmla="*/ 12859 w 28575"/>
                <a:gd name="connsiteY2" fmla="*/ 51911 h 57150"/>
                <a:gd name="connsiteX3" fmla="*/ 12859 w 28575"/>
                <a:gd name="connsiteY3" fmla="*/ 30004 h 57150"/>
                <a:gd name="connsiteX4" fmla="*/ 22384 w 28575"/>
                <a:gd name="connsiteY4" fmla="*/ 30004 h 57150"/>
                <a:gd name="connsiteX5" fmla="*/ 22384 w 28575"/>
                <a:gd name="connsiteY5" fmla="*/ 51911 h 57150"/>
                <a:gd name="connsiteX6" fmla="*/ 28099 w 28575"/>
                <a:gd name="connsiteY6" fmla="*/ 51911 h 57150"/>
                <a:gd name="connsiteX7" fmla="*/ 28099 w 28575"/>
                <a:gd name="connsiteY7" fmla="*/ 8096 h 57150"/>
                <a:gd name="connsiteX8" fmla="*/ 22384 w 28575"/>
                <a:gd name="connsiteY8" fmla="*/ 8096 h 57150"/>
                <a:gd name="connsiteX9" fmla="*/ 22384 w 28575"/>
                <a:gd name="connsiteY9" fmla="*/ 24289 h 57150"/>
                <a:gd name="connsiteX10" fmla="*/ 12859 w 28575"/>
                <a:gd name="connsiteY10" fmla="*/ 24289 h 57150"/>
                <a:gd name="connsiteX11" fmla="*/ 12859 w 28575"/>
                <a:gd name="connsiteY11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1911"/>
                  </a:lnTo>
                  <a:lnTo>
                    <a:pt x="12859" y="51911"/>
                  </a:lnTo>
                  <a:lnTo>
                    <a:pt x="12859" y="30004"/>
                  </a:lnTo>
                  <a:lnTo>
                    <a:pt x="22384" y="30004"/>
                  </a:lnTo>
                  <a:lnTo>
                    <a:pt x="22384" y="51911"/>
                  </a:lnTo>
                  <a:lnTo>
                    <a:pt x="28099" y="51911"/>
                  </a:lnTo>
                  <a:lnTo>
                    <a:pt x="28099" y="8096"/>
                  </a:lnTo>
                  <a:lnTo>
                    <a:pt x="22384" y="8096"/>
                  </a:lnTo>
                  <a:lnTo>
                    <a:pt x="22384" y="24289"/>
                  </a:lnTo>
                  <a:lnTo>
                    <a:pt x="12859" y="24289"/>
                  </a:lnTo>
                  <a:lnTo>
                    <a:pt x="128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158D2B25-4A9C-4AB8-BEDA-637487E4BDF9}"/>
                </a:ext>
              </a:extLst>
            </p:cNvPr>
            <p:cNvSpPr/>
            <p:nvPr/>
          </p:nvSpPr>
          <p:spPr>
            <a:xfrm>
              <a:off x="4867569" y="3424889"/>
              <a:ext cx="112800" cy="169200"/>
            </a:xfrm>
            <a:custGeom>
              <a:avLst/>
              <a:gdLst>
                <a:gd name="connsiteX0" fmla="*/ 15716 w 38100"/>
                <a:gd name="connsiteY0" fmla="*/ 38576 h 57150"/>
                <a:gd name="connsiteX1" fmla="*/ 19526 w 38100"/>
                <a:gd name="connsiteY1" fmla="*/ 17621 h 57150"/>
                <a:gd name="connsiteX2" fmla="*/ 19526 w 38100"/>
                <a:gd name="connsiteY2" fmla="*/ 17621 h 57150"/>
                <a:gd name="connsiteX3" fmla="*/ 22384 w 38100"/>
                <a:gd name="connsiteY3" fmla="*/ 38576 h 57150"/>
                <a:gd name="connsiteX4" fmla="*/ 15716 w 38100"/>
                <a:gd name="connsiteY4" fmla="*/ 38576 h 57150"/>
                <a:gd name="connsiteX5" fmla="*/ 16669 w 38100"/>
                <a:gd name="connsiteY5" fmla="*/ 7144 h 57150"/>
                <a:gd name="connsiteX6" fmla="*/ 7144 w 38100"/>
                <a:gd name="connsiteY6" fmla="*/ 50959 h 57150"/>
                <a:gd name="connsiteX7" fmla="*/ 12859 w 38100"/>
                <a:gd name="connsiteY7" fmla="*/ 50959 h 57150"/>
                <a:gd name="connsiteX8" fmla="*/ 14764 w 38100"/>
                <a:gd name="connsiteY8" fmla="*/ 44291 h 57150"/>
                <a:gd name="connsiteX9" fmla="*/ 15716 w 38100"/>
                <a:gd name="connsiteY9" fmla="*/ 43339 h 57150"/>
                <a:gd name="connsiteX10" fmla="*/ 23336 w 38100"/>
                <a:gd name="connsiteY10" fmla="*/ 43339 h 57150"/>
                <a:gd name="connsiteX11" fmla="*/ 25241 w 38100"/>
                <a:gd name="connsiteY11" fmla="*/ 50006 h 57150"/>
                <a:gd name="connsiteX12" fmla="*/ 26194 w 38100"/>
                <a:gd name="connsiteY12" fmla="*/ 50959 h 57150"/>
                <a:gd name="connsiteX13" fmla="*/ 31909 w 38100"/>
                <a:gd name="connsiteY13" fmla="*/ 50959 h 57150"/>
                <a:gd name="connsiteX14" fmla="*/ 22384 w 38100"/>
                <a:gd name="connsiteY14" fmla="*/ 7144 h 57150"/>
                <a:gd name="connsiteX15" fmla="*/ 16669 w 38100"/>
                <a:gd name="connsiteY15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8100" h="57150">
                  <a:moveTo>
                    <a:pt x="15716" y="38576"/>
                  </a:moveTo>
                  <a:cubicBezTo>
                    <a:pt x="16669" y="30956"/>
                    <a:pt x="17621" y="24289"/>
                    <a:pt x="19526" y="17621"/>
                  </a:cubicBezTo>
                  <a:cubicBezTo>
                    <a:pt x="19526" y="17621"/>
                    <a:pt x="19526" y="17621"/>
                    <a:pt x="19526" y="17621"/>
                  </a:cubicBezTo>
                  <a:cubicBezTo>
                    <a:pt x="20479" y="24289"/>
                    <a:pt x="21431" y="30956"/>
                    <a:pt x="22384" y="38576"/>
                  </a:cubicBezTo>
                  <a:lnTo>
                    <a:pt x="15716" y="38576"/>
                  </a:lnTo>
                  <a:close/>
                  <a:moveTo>
                    <a:pt x="16669" y="7144"/>
                  </a:moveTo>
                  <a:cubicBezTo>
                    <a:pt x="13811" y="21431"/>
                    <a:pt x="10001" y="36671"/>
                    <a:pt x="7144" y="50959"/>
                  </a:cubicBezTo>
                  <a:lnTo>
                    <a:pt x="12859" y="50959"/>
                  </a:lnTo>
                  <a:cubicBezTo>
                    <a:pt x="12859" y="49054"/>
                    <a:pt x="13811" y="46196"/>
                    <a:pt x="14764" y="44291"/>
                  </a:cubicBezTo>
                  <a:cubicBezTo>
                    <a:pt x="14764" y="43339"/>
                    <a:pt x="15716" y="43339"/>
                    <a:pt x="15716" y="43339"/>
                  </a:cubicBezTo>
                  <a:cubicBezTo>
                    <a:pt x="18574" y="43339"/>
                    <a:pt x="20479" y="43339"/>
                    <a:pt x="23336" y="43339"/>
                  </a:cubicBezTo>
                  <a:cubicBezTo>
                    <a:pt x="24289" y="46196"/>
                    <a:pt x="24289" y="48101"/>
                    <a:pt x="25241" y="50006"/>
                  </a:cubicBezTo>
                  <a:cubicBezTo>
                    <a:pt x="25241" y="50959"/>
                    <a:pt x="26194" y="50959"/>
                    <a:pt x="26194" y="50959"/>
                  </a:cubicBezTo>
                  <a:cubicBezTo>
                    <a:pt x="28099" y="50959"/>
                    <a:pt x="30004" y="50959"/>
                    <a:pt x="31909" y="50959"/>
                  </a:cubicBezTo>
                  <a:cubicBezTo>
                    <a:pt x="29051" y="35719"/>
                    <a:pt x="25241" y="21431"/>
                    <a:pt x="22384" y="7144"/>
                  </a:cubicBezTo>
                  <a:lnTo>
                    <a:pt x="1666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551740D8-5007-47F3-8648-4F46F6760894}"/>
                </a:ext>
              </a:extLst>
            </p:cNvPr>
            <p:cNvSpPr/>
            <p:nvPr/>
          </p:nvSpPr>
          <p:spPr>
            <a:xfrm>
              <a:off x="6018129" y="3427711"/>
              <a:ext cx="84600" cy="169200"/>
            </a:xfrm>
            <a:custGeom>
              <a:avLst/>
              <a:gdLst>
                <a:gd name="connsiteX0" fmla="*/ 9049 w 28575"/>
                <a:gd name="connsiteY0" fmla="*/ 7144 h 57150"/>
                <a:gd name="connsiteX1" fmla="*/ 9049 w 28575"/>
                <a:gd name="connsiteY1" fmla="*/ 11906 h 57150"/>
                <a:gd name="connsiteX2" fmla="*/ 20479 w 28575"/>
                <a:gd name="connsiteY2" fmla="*/ 11906 h 57150"/>
                <a:gd name="connsiteX3" fmla="*/ 7144 w 28575"/>
                <a:gd name="connsiteY3" fmla="*/ 50959 h 57150"/>
                <a:gd name="connsiteX4" fmla="*/ 27146 w 28575"/>
                <a:gd name="connsiteY4" fmla="*/ 50959 h 57150"/>
                <a:gd name="connsiteX5" fmla="*/ 27146 w 28575"/>
                <a:gd name="connsiteY5" fmla="*/ 46196 h 57150"/>
                <a:gd name="connsiteX6" fmla="*/ 14764 w 28575"/>
                <a:gd name="connsiteY6" fmla="*/ 46196 h 57150"/>
                <a:gd name="connsiteX7" fmla="*/ 28099 w 28575"/>
                <a:gd name="connsiteY7" fmla="*/ 7144 h 57150"/>
                <a:gd name="connsiteX8" fmla="*/ 9049 w 28575"/>
                <a:gd name="connsiteY8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75" h="57150">
                  <a:moveTo>
                    <a:pt x="9049" y="7144"/>
                  </a:moveTo>
                  <a:lnTo>
                    <a:pt x="9049" y="11906"/>
                  </a:lnTo>
                  <a:lnTo>
                    <a:pt x="20479" y="11906"/>
                  </a:lnTo>
                  <a:cubicBezTo>
                    <a:pt x="15716" y="25241"/>
                    <a:pt x="11906" y="37624"/>
                    <a:pt x="7144" y="50959"/>
                  </a:cubicBezTo>
                  <a:lnTo>
                    <a:pt x="27146" y="50959"/>
                  </a:lnTo>
                  <a:lnTo>
                    <a:pt x="27146" y="46196"/>
                  </a:lnTo>
                  <a:lnTo>
                    <a:pt x="14764" y="46196"/>
                  </a:lnTo>
                  <a:cubicBezTo>
                    <a:pt x="19526" y="32861"/>
                    <a:pt x="23336" y="20479"/>
                    <a:pt x="28099" y="7144"/>
                  </a:cubicBezTo>
                  <a:lnTo>
                    <a:pt x="904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0DFFE3F-D461-4FFF-AB79-B7BF7D9CD84F}"/>
                </a:ext>
              </a:extLst>
            </p:cNvPr>
            <p:cNvSpPr/>
            <p:nvPr/>
          </p:nvSpPr>
          <p:spPr>
            <a:xfrm>
              <a:off x="5840467" y="3424889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1911 h 57150"/>
                <a:gd name="connsiteX2" fmla="*/ 23336 w 28575"/>
                <a:gd name="connsiteY2" fmla="*/ 51911 h 57150"/>
                <a:gd name="connsiteX3" fmla="*/ 23336 w 28575"/>
                <a:gd name="connsiteY3" fmla="*/ 46196 h 57150"/>
                <a:gd name="connsiteX4" fmla="*/ 13811 w 28575"/>
                <a:gd name="connsiteY4" fmla="*/ 46196 h 57150"/>
                <a:gd name="connsiteX5" fmla="*/ 13811 w 28575"/>
                <a:gd name="connsiteY5" fmla="*/ 31909 h 57150"/>
                <a:gd name="connsiteX6" fmla="*/ 22384 w 28575"/>
                <a:gd name="connsiteY6" fmla="*/ 31909 h 57150"/>
                <a:gd name="connsiteX7" fmla="*/ 22384 w 28575"/>
                <a:gd name="connsiteY7" fmla="*/ 26194 h 57150"/>
                <a:gd name="connsiteX8" fmla="*/ 13811 w 28575"/>
                <a:gd name="connsiteY8" fmla="*/ 26194 h 57150"/>
                <a:gd name="connsiteX9" fmla="*/ 13811 w 28575"/>
                <a:gd name="connsiteY9" fmla="*/ 12859 h 57150"/>
                <a:gd name="connsiteX10" fmla="*/ 23336 w 28575"/>
                <a:gd name="connsiteY10" fmla="*/ 12859 h 57150"/>
                <a:gd name="connsiteX11" fmla="*/ 23336 w 28575"/>
                <a:gd name="connsiteY11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1911"/>
                  </a:lnTo>
                  <a:lnTo>
                    <a:pt x="23336" y="51911"/>
                  </a:lnTo>
                  <a:lnTo>
                    <a:pt x="23336" y="46196"/>
                  </a:lnTo>
                  <a:lnTo>
                    <a:pt x="13811" y="46196"/>
                  </a:lnTo>
                  <a:lnTo>
                    <a:pt x="13811" y="31909"/>
                  </a:lnTo>
                  <a:lnTo>
                    <a:pt x="22384" y="31909"/>
                  </a:lnTo>
                  <a:lnTo>
                    <a:pt x="22384" y="26194"/>
                  </a:lnTo>
                  <a:lnTo>
                    <a:pt x="13811" y="26194"/>
                  </a:lnTo>
                  <a:lnTo>
                    <a:pt x="13811" y="12859"/>
                  </a:lnTo>
                  <a:lnTo>
                    <a:pt x="23336" y="12859"/>
                  </a:lnTo>
                  <a:lnTo>
                    <a:pt x="23336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AE626457-7909-4D64-98D8-6FA652C96752}"/>
                </a:ext>
              </a:extLst>
            </p:cNvPr>
            <p:cNvSpPr/>
            <p:nvPr/>
          </p:nvSpPr>
          <p:spPr>
            <a:xfrm>
              <a:off x="6128107" y="3424889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1911 h 57150"/>
                <a:gd name="connsiteX2" fmla="*/ 22384 w 28575"/>
                <a:gd name="connsiteY2" fmla="*/ 51911 h 57150"/>
                <a:gd name="connsiteX3" fmla="*/ 22384 w 28575"/>
                <a:gd name="connsiteY3" fmla="*/ 46196 h 57150"/>
                <a:gd name="connsiteX4" fmla="*/ 12859 w 28575"/>
                <a:gd name="connsiteY4" fmla="*/ 46196 h 57150"/>
                <a:gd name="connsiteX5" fmla="*/ 12859 w 28575"/>
                <a:gd name="connsiteY5" fmla="*/ 31909 h 57150"/>
                <a:gd name="connsiteX6" fmla="*/ 21431 w 28575"/>
                <a:gd name="connsiteY6" fmla="*/ 31909 h 57150"/>
                <a:gd name="connsiteX7" fmla="*/ 21431 w 28575"/>
                <a:gd name="connsiteY7" fmla="*/ 26194 h 57150"/>
                <a:gd name="connsiteX8" fmla="*/ 12859 w 28575"/>
                <a:gd name="connsiteY8" fmla="*/ 26194 h 57150"/>
                <a:gd name="connsiteX9" fmla="*/ 12859 w 28575"/>
                <a:gd name="connsiteY9" fmla="*/ 12859 h 57150"/>
                <a:gd name="connsiteX10" fmla="*/ 22384 w 28575"/>
                <a:gd name="connsiteY10" fmla="*/ 12859 h 57150"/>
                <a:gd name="connsiteX11" fmla="*/ 22384 w 28575"/>
                <a:gd name="connsiteY11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1911"/>
                  </a:lnTo>
                  <a:lnTo>
                    <a:pt x="22384" y="51911"/>
                  </a:lnTo>
                  <a:lnTo>
                    <a:pt x="22384" y="46196"/>
                  </a:lnTo>
                  <a:lnTo>
                    <a:pt x="12859" y="46196"/>
                  </a:lnTo>
                  <a:lnTo>
                    <a:pt x="12859" y="31909"/>
                  </a:lnTo>
                  <a:lnTo>
                    <a:pt x="21431" y="31909"/>
                  </a:lnTo>
                  <a:lnTo>
                    <a:pt x="21431" y="26194"/>
                  </a:lnTo>
                  <a:lnTo>
                    <a:pt x="12859" y="26194"/>
                  </a:lnTo>
                  <a:lnTo>
                    <a:pt x="12859" y="12859"/>
                  </a:lnTo>
                  <a:lnTo>
                    <a:pt x="22384" y="12859"/>
                  </a:lnTo>
                  <a:lnTo>
                    <a:pt x="22384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78453F4A-FCCB-4643-BB5A-FB07B03BFDA1}"/>
                </a:ext>
              </a:extLst>
            </p:cNvPr>
            <p:cNvSpPr/>
            <p:nvPr/>
          </p:nvSpPr>
          <p:spPr>
            <a:xfrm>
              <a:off x="5941987" y="3427711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0959 h 57150"/>
                <a:gd name="connsiteX2" fmla="*/ 22384 w 28575"/>
                <a:gd name="connsiteY2" fmla="*/ 50959 h 57150"/>
                <a:gd name="connsiteX3" fmla="*/ 22384 w 28575"/>
                <a:gd name="connsiteY3" fmla="*/ 45244 h 57150"/>
                <a:gd name="connsiteX4" fmla="*/ 12859 w 28575"/>
                <a:gd name="connsiteY4" fmla="*/ 45244 h 57150"/>
                <a:gd name="connsiteX5" fmla="*/ 12859 w 28575"/>
                <a:gd name="connsiteY5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0959"/>
                  </a:lnTo>
                  <a:lnTo>
                    <a:pt x="22384" y="50959"/>
                  </a:lnTo>
                  <a:lnTo>
                    <a:pt x="22384" y="45244"/>
                  </a:lnTo>
                  <a:lnTo>
                    <a:pt x="12859" y="45244"/>
                  </a:lnTo>
                  <a:lnTo>
                    <a:pt x="128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5D30EDF0-8B33-42CF-A87C-7D3860A0CFDC}"/>
                </a:ext>
              </a:extLst>
            </p:cNvPr>
            <p:cNvSpPr/>
            <p:nvPr/>
          </p:nvSpPr>
          <p:spPr>
            <a:xfrm>
              <a:off x="6249369" y="2691689"/>
              <a:ext cx="84600" cy="112800"/>
            </a:xfrm>
            <a:custGeom>
              <a:avLst/>
              <a:gdLst>
                <a:gd name="connsiteX0" fmla="*/ 19526 w 28575"/>
                <a:gd name="connsiteY0" fmla="*/ 19526 h 38100"/>
                <a:gd name="connsiteX1" fmla="*/ 10954 w 28575"/>
                <a:gd name="connsiteY1" fmla="*/ 20479 h 38100"/>
                <a:gd name="connsiteX2" fmla="*/ 10954 w 28575"/>
                <a:gd name="connsiteY2" fmla="*/ 10954 h 38100"/>
                <a:gd name="connsiteX3" fmla="*/ 19526 w 28575"/>
                <a:gd name="connsiteY3" fmla="*/ 11906 h 38100"/>
                <a:gd name="connsiteX4" fmla="*/ 22384 w 28575"/>
                <a:gd name="connsiteY4" fmla="*/ 15716 h 38100"/>
                <a:gd name="connsiteX5" fmla="*/ 19526 w 28575"/>
                <a:gd name="connsiteY5" fmla="*/ 19526 h 38100"/>
                <a:gd name="connsiteX6" fmla="*/ 27146 w 28575"/>
                <a:gd name="connsiteY6" fmla="*/ 12859 h 38100"/>
                <a:gd name="connsiteX7" fmla="*/ 20479 w 28575"/>
                <a:gd name="connsiteY7" fmla="*/ 7144 h 38100"/>
                <a:gd name="connsiteX8" fmla="*/ 12859 w 28575"/>
                <a:gd name="connsiteY8" fmla="*/ 7144 h 38100"/>
                <a:gd name="connsiteX9" fmla="*/ 7144 w 28575"/>
                <a:gd name="connsiteY9" fmla="*/ 7144 h 38100"/>
                <a:gd name="connsiteX10" fmla="*/ 7144 w 28575"/>
                <a:gd name="connsiteY10" fmla="*/ 33814 h 38100"/>
                <a:gd name="connsiteX11" fmla="*/ 11906 w 28575"/>
                <a:gd name="connsiteY11" fmla="*/ 33814 h 38100"/>
                <a:gd name="connsiteX12" fmla="*/ 11906 w 28575"/>
                <a:gd name="connsiteY12" fmla="*/ 22384 h 38100"/>
                <a:gd name="connsiteX13" fmla="*/ 20479 w 28575"/>
                <a:gd name="connsiteY13" fmla="*/ 24289 h 38100"/>
                <a:gd name="connsiteX14" fmla="*/ 23336 w 28575"/>
                <a:gd name="connsiteY14" fmla="*/ 33814 h 38100"/>
                <a:gd name="connsiteX15" fmla="*/ 27146 w 28575"/>
                <a:gd name="connsiteY15" fmla="*/ 33814 h 38100"/>
                <a:gd name="connsiteX16" fmla="*/ 22384 w 28575"/>
                <a:gd name="connsiteY16" fmla="*/ 21431 h 38100"/>
                <a:gd name="connsiteX17" fmla="*/ 27146 w 28575"/>
                <a:gd name="connsiteY17" fmla="*/ 1285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38100">
                  <a:moveTo>
                    <a:pt x="19526" y="19526"/>
                  </a:moveTo>
                  <a:cubicBezTo>
                    <a:pt x="16669" y="20479"/>
                    <a:pt x="13811" y="20479"/>
                    <a:pt x="10954" y="20479"/>
                  </a:cubicBezTo>
                  <a:lnTo>
                    <a:pt x="10954" y="10954"/>
                  </a:lnTo>
                  <a:cubicBezTo>
                    <a:pt x="13811" y="10954"/>
                    <a:pt x="16669" y="10954"/>
                    <a:pt x="19526" y="11906"/>
                  </a:cubicBezTo>
                  <a:cubicBezTo>
                    <a:pt x="21431" y="11906"/>
                    <a:pt x="22384" y="13811"/>
                    <a:pt x="22384" y="15716"/>
                  </a:cubicBezTo>
                  <a:cubicBezTo>
                    <a:pt x="22384" y="16669"/>
                    <a:pt x="21431" y="18574"/>
                    <a:pt x="19526" y="19526"/>
                  </a:cubicBezTo>
                  <a:moveTo>
                    <a:pt x="27146" y="12859"/>
                  </a:moveTo>
                  <a:cubicBezTo>
                    <a:pt x="27146" y="10001"/>
                    <a:pt x="24289" y="7144"/>
                    <a:pt x="20479" y="7144"/>
                  </a:cubicBezTo>
                  <a:cubicBezTo>
                    <a:pt x="17621" y="7144"/>
                    <a:pt x="14764" y="7144"/>
                    <a:pt x="12859" y="7144"/>
                  </a:cubicBezTo>
                  <a:cubicBezTo>
                    <a:pt x="10954" y="7144"/>
                    <a:pt x="9049" y="7144"/>
                    <a:pt x="7144" y="7144"/>
                  </a:cubicBezTo>
                  <a:lnTo>
                    <a:pt x="7144" y="33814"/>
                  </a:lnTo>
                  <a:lnTo>
                    <a:pt x="11906" y="33814"/>
                  </a:lnTo>
                  <a:lnTo>
                    <a:pt x="11906" y="22384"/>
                  </a:lnTo>
                  <a:cubicBezTo>
                    <a:pt x="14764" y="23336"/>
                    <a:pt x="18574" y="22384"/>
                    <a:pt x="20479" y="24289"/>
                  </a:cubicBezTo>
                  <a:cubicBezTo>
                    <a:pt x="24289" y="26194"/>
                    <a:pt x="22384" y="30004"/>
                    <a:pt x="23336" y="33814"/>
                  </a:cubicBezTo>
                  <a:lnTo>
                    <a:pt x="27146" y="33814"/>
                  </a:lnTo>
                  <a:cubicBezTo>
                    <a:pt x="27146" y="29051"/>
                    <a:pt x="28099" y="24289"/>
                    <a:pt x="22384" y="21431"/>
                  </a:cubicBezTo>
                  <a:cubicBezTo>
                    <a:pt x="26194" y="19526"/>
                    <a:pt x="27146" y="17621"/>
                    <a:pt x="27146" y="1285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71475" y="6489700"/>
            <a:ext cx="4366378" cy="351771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US" dirty="0" smtClean="0"/>
              <a:t>CONFIDENTIA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831C3B7-9E09-469B-A02E-193B6B7A5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37501" y="3246803"/>
            <a:ext cx="8516997" cy="1325563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4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59352DB-4EB8-4BDC-8A50-1D1AA6AA3F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3737" y="4576867"/>
            <a:ext cx="5724525" cy="60166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10000"/>
                    <a:lumOff val="9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Monat XXXX</a:t>
            </a:r>
          </a:p>
        </p:txBody>
      </p:sp>
      <p:grpSp>
        <p:nvGrpSpPr>
          <p:cNvPr id="41" name="Grafik 15">
            <a:extLst>
              <a:ext uri="{FF2B5EF4-FFF2-40B4-BE49-F238E27FC236}">
                <a16:creationId xmlns:a16="http://schemas.microsoft.com/office/drawing/2014/main" id="{1234F928-F062-4F72-8119-CBDFA604F9E4}"/>
              </a:ext>
            </a:extLst>
          </p:cNvPr>
          <p:cNvGrpSpPr/>
          <p:nvPr userDrawn="1"/>
        </p:nvGrpSpPr>
        <p:grpSpPr>
          <a:xfrm>
            <a:off x="4732879" y="3109974"/>
            <a:ext cx="2780361" cy="100013"/>
            <a:chOff x="5434012" y="3405187"/>
            <a:chExt cx="1323975" cy="47625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C32A63D-8C15-43AE-A078-6FA4B2D0B242}"/>
                </a:ext>
              </a:extLst>
            </p:cNvPr>
            <p:cNvSpPr/>
            <p:nvPr/>
          </p:nvSpPr>
          <p:spPr>
            <a:xfrm>
              <a:off x="5426868" y="3398043"/>
              <a:ext cx="276225" cy="57150"/>
            </a:xfrm>
            <a:custGeom>
              <a:avLst/>
              <a:gdLst>
                <a:gd name="connsiteX0" fmla="*/ 50959 w 276225"/>
                <a:gd name="connsiteY0" fmla="*/ 7144 h 57150"/>
                <a:gd name="connsiteX1" fmla="*/ 7144 w 276225"/>
                <a:gd name="connsiteY1" fmla="*/ 49054 h 57150"/>
                <a:gd name="connsiteX2" fmla="*/ 226219 w 276225"/>
                <a:gd name="connsiteY2" fmla="*/ 50006 h 57150"/>
                <a:gd name="connsiteX3" fmla="*/ 270986 w 276225"/>
                <a:gd name="connsiteY3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57150">
                  <a:moveTo>
                    <a:pt x="50959" y="7144"/>
                  </a:moveTo>
                  <a:lnTo>
                    <a:pt x="7144" y="49054"/>
                  </a:lnTo>
                  <a:lnTo>
                    <a:pt x="226219" y="50006"/>
                  </a:lnTo>
                  <a:lnTo>
                    <a:pt x="270986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A3FE8390-871B-42CE-AAC7-4440DC3B47D6}"/>
                </a:ext>
              </a:extLst>
            </p:cNvPr>
            <p:cNvSpPr/>
            <p:nvPr/>
          </p:nvSpPr>
          <p:spPr>
            <a:xfrm>
              <a:off x="5777388" y="3398996"/>
              <a:ext cx="276225" cy="47625"/>
            </a:xfrm>
            <a:custGeom>
              <a:avLst/>
              <a:gdLst>
                <a:gd name="connsiteX0" fmla="*/ 7144 w 276225"/>
                <a:gd name="connsiteY0" fmla="*/ 49054 h 47625"/>
                <a:gd name="connsiteX1" fmla="*/ 226219 w 276225"/>
                <a:gd name="connsiteY1" fmla="*/ 50006 h 47625"/>
                <a:gd name="connsiteX2" fmla="*/ 270986 w 276225"/>
                <a:gd name="connsiteY2" fmla="*/ 7144 h 47625"/>
                <a:gd name="connsiteX3" fmla="*/ 50959 w 2762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47625">
                  <a:moveTo>
                    <a:pt x="7144" y="49054"/>
                  </a:moveTo>
                  <a:lnTo>
                    <a:pt x="226219" y="50006"/>
                  </a:lnTo>
                  <a:lnTo>
                    <a:pt x="270986" y="7144"/>
                  </a:lnTo>
                  <a:lnTo>
                    <a:pt x="509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D09082A8-1909-4930-8EDA-BD6293A58DFA}"/>
                </a:ext>
              </a:extLst>
            </p:cNvPr>
            <p:cNvSpPr/>
            <p:nvPr/>
          </p:nvSpPr>
          <p:spPr>
            <a:xfrm>
              <a:off x="6131718" y="3399948"/>
              <a:ext cx="276225" cy="47625"/>
            </a:xfrm>
            <a:custGeom>
              <a:avLst/>
              <a:gdLst>
                <a:gd name="connsiteX0" fmla="*/ 7144 w 276225"/>
                <a:gd name="connsiteY0" fmla="*/ 49054 h 47625"/>
                <a:gd name="connsiteX1" fmla="*/ 227171 w 276225"/>
                <a:gd name="connsiteY1" fmla="*/ 49054 h 47625"/>
                <a:gd name="connsiteX2" fmla="*/ 270986 w 276225"/>
                <a:gd name="connsiteY2" fmla="*/ 7144 h 47625"/>
                <a:gd name="connsiteX3" fmla="*/ 51911 w 2762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47625">
                  <a:moveTo>
                    <a:pt x="7144" y="49054"/>
                  </a:moveTo>
                  <a:lnTo>
                    <a:pt x="227171" y="49054"/>
                  </a:lnTo>
                  <a:lnTo>
                    <a:pt x="270986" y="7144"/>
                  </a:lnTo>
                  <a:lnTo>
                    <a:pt x="51911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79152736-494F-4395-A463-9F89E52725DF}"/>
                </a:ext>
              </a:extLst>
            </p:cNvPr>
            <p:cNvSpPr/>
            <p:nvPr/>
          </p:nvSpPr>
          <p:spPr>
            <a:xfrm>
              <a:off x="6487953" y="3399948"/>
              <a:ext cx="276225" cy="47625"/>
            </a:xfrm>
            <a:custGeom>
              <a:avLst/>
              <a:gdLst>
                <a:gd name="connsiteX0" fmla="*/ 7144 w 276225"/>
                <a:gd name="connsiteY0" fmla="*/ 50006 h 47625"/>
                <a:gd name="connsiteX1" fmla="*/ 226219 w 276225"/>
                <a:gd name="connsiteY1" fmla="*/ 50006 h 47625"/>
                <a:gd name="connsiteX2" fmla="*/ 270986 w 276225"/>
                <a:gd name="connsiteY2" fmla="*/ 8096 h 47625"/>
                <a:gd name="connsiteX3" fmla="*/ 50959 w 2762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47625">
                  <a:moveTo>
                    <a:pt x="7144" y="50006"/>
                  </a:moveTo>
                  <a:lnTo>
                    <a:pt x="226219" y="50006"/>
                  </a:lnTo>
                  <a:lnTo>
                    <a:pt x="270986" y="8096"/>
                  </a:lnTo>
                  <a:lnTo>
                    <a:pt x="509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46" name="Foliennummernplatzhalter 3">
            <a:extLst>
              <a:ext uri="{FF2B5EF4-FFF2-40B4-BE49-F238E27FC236}">
                <a16:creationId xmlns:a16="http://schemas.microsoft.com/office/drawing/2014/main" id="{87630EB5-E02C-4F0E-86A9-B9E2F8D479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163" y="6489700"/>
            <a:ext cx="360362" cy="368299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6FAFAE-B3D1-47A6-B933-CD41C99AEDE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172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/>
    </p:bld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46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pos="483">
          <p15:clr>
            <a:srgbClr val="FBAE40"/>
          </p15:clr>
        </p15:guide>
        <p15:guide id="8" pos="721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6"/>
          <p:cNvPicPr>
            <a:picLocks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8200"/>
          <a:stretch/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pic>
        <p:nvPicPr>
          <p:cNvPr id="3" name="Picture 2"/>
          <p:cNvPicPr>
            <a:picLocks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529" y="0"/>
            <a:ext cx="12193057" cy="6858000"/>
          </a:xfrm>
          <a:prstGeom prst="rect">
            <a:avLst/>
          </a:prstGeom>
        </p:spPr>
      </p:pic>
      <p:sp>
        <p:nvSpPr>
          <p:cNvPr id="10" name="ClientLogo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027873" y="892269"/>
            <a:ext cx="3325091" cy="806824"/>
          </a:xfrm>
          <a:prstGeom prst="rect">
            <a:avLst/>
          </a:prstGeom>
          <a:solidFill>
            <a:srgbClr val="FEDF87"/>
          </a:solidFill>
          <a:ln w="12700">
            <a:solidFill>
              <a:srgbClr val="FF0000"/>
            </a:solidFill>
            <a:prstDash val="solid"/>
            <a:miter lim="800000"/>
            <a:headEnd/>
            <a:tailEnd/>
          </a:ln>
          <a:effectLst/>
        </p:spPr>
        <p:txBody>
          <a:bodyPr wrap="square" lIns="0" tIns="48409" rIns="32273" bIns="0" anchor="t"/>
          <a:lstStyle/>
          <a:p>
            <a:pPr lvl="0"/>
            <a:r>
              <a:rPr lang="en-US" sz="1059" b="1" dirty="0" smtClean="0">
                <a:solidFill>
                  <a:srgbClr val="FF0000"/>
                </a:solidFill>
              </a:rPr>
              <a:t>PB Cover</a:t>
            </a:r>
            <a:r>
              <a:rPr lang="en-US" sz="1059" b="1" baseline="0" dirty="0" smtClean="0">
                <a:solidFill>
                  <a:srgbClr val="FF0000"/>
                </a:solidFill>
              </a:rPr>
              <a:t> Logo</a:t>
            </a:r>
            <a:r>
              <a:rPr lang="en-US" sz="1059" b="1" dirty="0" smtClean="0">
                <a:solidFill>
                  <a:srgbClr val="FF0000"/>
                </a:solidFill>
              </a:rPr>
              <a:t> Placeholder </a:t>
            </a:r>
            <a:r>
              <a:rPr lang="en-US" sz="1059" dirty="0" smtClean="0">
                <a:solidFill>
                  <a:srgbClr val="FF0000"/>
                </a:solidFill>
              </a:rPr>
              <a:t/>
            </a:r>
            <a:br>
              <a:rPr lang="en-US" sz="1059" dirty="0" smtClean="0">
                <a:solidFill>
                  <a:srgbClr val="FF0000"/>
                </a:solidFill>
              </a:rPr>
            </a:br>
            <a:r>
              <a:rPr lang="en-US" sz="1059" dirty="0" smtClean="0">
                <a:solidFill>
                  <a:srgbClr val="FF0000"/>
                </a:solidFill>
              </a:rPr>
              <a:t>Delete this box if you see it on a slide, but DO NOT REMOVE this box from the slide layout. </a:t>
            </a:r>
            <a:endParaRPr lang="en-US" sz="1059" dirty="0">
              <a:solidFill>
                <a:srgbClr val="FF0000"/>
              </a:solidFill>
            </a:endParaRPr>
          </a:p>
        </p:txBody>
      </p:sp>
      <p:pic>
        <p:nvPicPr>
          <p:cNvPr id="15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367" y="1266558"/>
            <a:ext cx="2756087" cy="1301942"/>
          </a:xfrm>
          <a:prstGeom prst="rect">
            <a:avLst/>
          </a:prstGeom>
        </p:spPr>
      </p:pic>
      <p:sp>
        <p:nvSpPr>
          <p:cNvPr id="16" name="Rechteck 11"/>
          <p:cNvSpPr/>
          <p:nvPr userDrawn="1"/>
        </p:nvSpPr>
        <p:spPr bwMode="white">
          <a:xfrm>
            <a:off x="578933" y="6462310"/>
            <a:ext cx="2552302" cy="255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1059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DVANCED</a:t>
            </a:r>
            <a:r>
              <a:rPr lang="de-DE" sz="1059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MAGNETIC SOLUTIONS</a:t>
            </a:r>
            <a:endParaRPr lang="de-DE" sz="1059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hteck 11">
            <a:extLst>
              <a:ext uri="{FF2B5EF4-FFF2-40B4-BE49-F238E27FC236}">
                <a16:creationId xmlns:a16="http://schemas.microsoft.com/office/drawing/2014/main" id="{0C028C81-E534-47E6-99DD-0B75C3E6D2F2}"/>
              </a:ext>
            </a:extLst>
          </p:cNvPr>
          <p:cNvSpPr/>
          <p:nvPr userDrawn="1"/>
        </p:nvSpPr>
        <p:spPr bwMode="white">
          <a:xfrm>
            <a:off x="10832600" y="6462310"/>
            <a:ext cx="1197764" cy="255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de-DE" sz="1059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34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515986" y="3259798"/>
            <a:ext cx="7182196" cy="532272"/>
          </a:xfrm>
          <a:ln algn="ctr"/>
        </p:spPr>
        <p:txBody>
          <a:bodyPr wrap="square" tIns="54864" bIns="54864" anchor="b">
            <a:noAutofit/>
          </a:bodyPr>
          <a:lstStyle>
            <a:lvl1pPr algn="ctr">
              <a:lnSpc>
                <a:spcPct val="100000"/>
              </a:lnSpc>
              <a:defRPr sz="353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34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81993" y="3856617"/>
            <a:ext cx="6639098" cy="312303"/>
          </a:xfrm>
        </p:spPr>
        <p:txBody>
          <a:bodyPr wrap="square" lIns="0" tIns="45720" rIns="18288" bIns="45720">
            <a:noAutofit/>
          </a:bodyPr>
          <a:lstStyle>
            <a:lvl1pPr marL="0" indent="0" algn="ctr">
              <a:lnSpc>
                <a:spcPct val="100000"/>
              </a:lnSpc>
              <a:spcBef>
                <a:spcPts val="794"/>
              </a:spcBef>
              <a:buClr>
                <a:schemeClr val="tx2"/>
              </a:buClr>
              <a:buSzTx/>
              <a:buFont typeface="Wingdings" pitchFamily="2" charset="2"/>
              <a:buNone/>
              <a:defRPr sz="1765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850987" y="4498361"/>
            <a:ext cx="4416136" cy="458096"/>
          </a:xfrm>
        </p:spPr>
        <p:txBody>
          <a:bodyPr lIns="18288" tIns="0" rIns="0" bIns="0"/>
          <a:lstStyle>
            <a:lvl1pPr algn="ctr">
              <a:lnSpc>
                <a:spcPct val="110000"/>
              </a:lnSpc>
              <a:spcBef>
                <a:spcPts val="62"/>
              </a:spcBef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15460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52835" y="2001293"/>
            <a:ext cx="6888360" cy="434509"/>
          </a:xfrm>
          <a:ln algn="ctr"/>
        </p:spPr>
        <p:txBody>
          <a:bodyPr wrap="square" tIns="0" bIns="0" anchor="b">
            <a:spAutoFit/>
          </a:bodyPr>
          <a:lstStyle>
            <a:lvl1pPr>
              <a:lnSpc>
                <a:spcPct val="100000"/>
              </a:lnSpc>
              <a:defRPr sz="2824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34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52835" y="2483987"/>
            <a:ext cx="6875176" cy="271613"/>
          </a:xfr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794"/>
              </a:spcBef>
              <a:buClr>
                <a:schemeClr val="tx2"/>
              </a:buClr>
              <a:buSzTx/>
              <a:buFont typeface="Wingdings" pitchFamily="2" charset="2"/>
              <a:buNone/>
              <a:defRPr sz="176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52834" y="3772124"/>
            <a:ext cx="4416136" cy="463699"/>
          </a:xfrm>
        </p:spPr>
        <p:txBody>
          <a:bodyPr lIns="18288" tIns="0" rIns="0" bIns="0"/>
          <a:lstStyle>
            <a:lvl1pPr>
              <a:lnSpc>
                <a:spcPct val="110000"/>
              </a:lnSpc>
              <a:spcBef>
                <a:spcPts val="62"/>
              </a:spcBef>
              <a:buNone/>
              <a:defRPr baseline="0"/>
            </a:lvl1pPr>
          </a:lstStyle>
          <a:p>
            <a:pPr lvl="0"/>
            <a:r>
              <a:rPr lang="en-US" dirty="0" smtClean="0"/>
              <a:t>Date</a:t>
            </a:r>
          </a:p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217366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55475" y="3778262"/>
            <a:ext cx="6888360" cy="434509"/>
          </a:xfrm>
          <a:ln algn="ctr"/>
        </p:spPr>
        <p:txBody>
          <a:bodyPr wrap="square" tIns="0" bIns="0" anchor="b">
            <a:spAutoFit/>
          </a:bodyPr>
          <a:lstStyle>
            <a:lvl1pPr>
              <a:lnSpc>
                <a:spcPct val="100000"/>
              </a:lnSpc>
              <a:defRPr sz="2824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34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55475" y="4260956"/>
            <a:ext cx="6875176" cy="271613"/>
          </a:xfr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794"/>
              </a:spcBef>
              <a:buClr>
                <a:schemeClr val="tx2"/>
              </a:buClr>
              <a:buSzTx/>
              <a:buFont typeface="Wingdings" pitchFamily="2" charset="2"/>
              <a:buNone/>
              <a:defRPr sz="176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55474" y="4631190"/>
            <a:ext cx="4416136" cy="411457"/>
          </a:xfrm>
        </p:spPr>
        <p:txBody>
          <a:bodyPr lIns="18288" tIns="0" rIns="0" bIns="0"/>
          <a:lstStyle>
            <a:lvl1pPr>
              <a:lnSpc>
                <a:spcPct val="110000"/>
              </a:lnSpc>
              <a:spcBef>
                <a:spcPts val="62"/>
              </a:spcBef>
              <a:buNone/>
              <a:defRPr baseline="0"/>
            </a:lvl1pPr>
          </a:lstStyle>
          <a:p>
            <a:pPr lvl="0"/>
            <a:r>
              <a:rPr lang="en-US" dirty="0" smtClean="0"/>
              <a:t>Date</a:t>
            </a:r>
          </a:p>
          <a:p>
            <a:pPr lvl="0"/>
            <a:r>
              <a:rPr lang="en-US" dirty="0" smtClean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144966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hTitle"/>
          <p:cNvSpPr>
            <a:spLocks noGrp="1"/>
          </p:cNvSpPr>
          <p:nvPr>
            <p:ph type="title"/>
          </p:nvPr>
        </p:nvSpPr>
        <p:spPr>
          <a:xfrm>
            <a:off x="831272" y="470647"/>
            <a:ext cx="9482668" cy="47064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plhSubheader"/>
          <p:cNvSpPr>
            <a:spLocks noGrp="1"/>
          </p:cNvSpPr>
          <p:nvPr>
            <p:ph type="body" sz="quarter" idx="13" hasCustomPrompt="1"/>
          </p:nvPr>
        </p:nvSpPr>
        <p:spPr>
          <a:xfrm>
            <a:off x="831273" y="1143000"/>
            <a:ext cx="10529455" cy="33617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35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12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12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12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12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 dirty="0" smtClean="0"/>
              <a:t>Sub-Header: Enter your optional sub-heading here </a:t>
            </a:r>
          </a:p>
          <a:p>
            <a:pPr lvl="0"/>
            <a:endParaRPr lang="en-US" dirty="0"/>
          </a:p>
        </p:txBody>
      </p:sp>
      <p:sp>
        <p:nvSpPr>
          <p:cNvPr id="7" name="plhBody"/>
          <p:cNvSpPr>
            <a:spLocks noGrp="1"/>
          </p:cNvSpPr>
          <p:nvPr>
            <p:ph type="body" sz="quarter" idx="16"/>
          </p:nvPr>
        </p:nvSpPr>
        <p:spPr>
          <a:xfrm>
            <a:off x="831273" y="1479177"/>
            <a:ext cx="10529455" cy="4437529"/>
          </a:xfrm>
        </p:spPr>
        <p:txBody>
          <a:bodyPr/>
          <a:lstStyle>
            <a:lvl1pPr marL="201717" indent="-201717">
              <a:buClr>
                <a:schemeClr val="accent3"/>
              </a:buClr>
              <a:buFont typeface="Wingdings 2" panose="05020102010507070707" pitchFamily="18" charset="2"/>
              <a:buChar char=""/>
              <a:defRPr/>
            </a:lvl1pPr>
            <a:lvl2pPr marL="403433" indent="-200316">
              <a:buSzPct val="100000"/>
              <a:buFont typeface="Arial" panose="020B0604020202020204" pitchFamily="34" charset="0"/>
              <a:buChar char="−"/>
              <a:defRPr/>
            </a:lvl2pPr>
            <a:lvl5pPr>
              <a:defRPr/>
            </a:lvl5pPr>
            <a:lvl6pPr>
              <a:defRPr/>
            </a:lvl6pPr>
            <a:lvl7pPr>
              <a:defRPr/>
            </a:lvl7pPr>
            <a:lvl8pPr>
              <a:defRPr baseline="0"/>
            </a:lvl8pPr>
            <a:lvl9pPr>
              <a:defRPr baseline="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1" name="plhSectionHeader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943984"/>
            <a:ext cx="5264727" cy="153296"/>
          </a:xfrm>
        </p:spPr>
        <p:txBody>
          <a:bodyPr wrap="none" tIns="36576" rIns="0" bIns="0"/>
          <a:lstStyle>
            <a:lvl1pPr algn="r">
              <a:buNone/>
              <a:defRPr sz="706" b="1">
                <a:solidFill>
                  <a:srgbClr val="00395C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Section Header (used to create Tab Pages and Table of Contents)</a:t>
            </a:r>
            <a:endParaRPr lang="en-US" dirty="0"/>
          </a:p>
        </p:txBody>
      </p:sp>
      <p:sp>
        <p:nvSpPr>
          <p:cNvPr id="9" name="plhFootnote"/>
          <p:cNvSpPr>
            <a:spLocks noGrp="1"/>
          </p:cNvSpPr>
          <p:nvPr>
            <p:ph type="body" sz="quarter" idx="22" hasCustomPrompt="1"/>
          </p:nvPr>
        </p:nvSpPr>
        <p:spPr>
          <a:xfrm>
            <a:off x="831273" y="5822052"/>
            <a:ext cx="10529455" cy="358469"/>
          </a:xfrm>
        </p:spPr>
        <p:txBody>
          <a:bodyPr wrap="square" tIns="18288" bIns="18288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6" i="1">
                <a:solidFill>
                  <a:schemeClr val="tx1"/>
                </a:solidFill>
              </a:defRPr>
            </a:lvl1pPr>
            <a:lvl2pPr marL="154089" indent="-154089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+mj-lt"/>
              <a:buAutoNum type="arabicPeriod"/>
              <a:defRPr sz="706" i="1">
                <a:solidFill>
                  <a:schemeClr val="tx1"/>
                </a:solidFill>
              </a:defRPr>
            </a:lvl2pPr>
            <a:lvl3pPr marL="403433" indent="-20171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lphaLcParenR"/>
              <a:defRPr sz="706" i="1"/>
            </a:lvl3pPr>
            <a:lvl4pPr marL="8405" indent="0">
              <a:lnSpc>
                <a:spcPct val="90000"/>
              </a:lnSpc>
              <a:spcBef>
                <a:spcPts val="0"/>
              </a:spcBef>
              <a:buNone/>
              <a:defRPr sz="706" i="1" u="none" strike="noStrike" normalizeH="0" baseline="0">
                <a:latin typeface="+mn-lt"/>
              </a:defRPr>
            </a:lvl4pPr>
            <a:lvl5pPr>
              <a:defRPr sz="706" i="1"/>
            </a:lvl5pPr>
          </a:lstStyle>
          <a:p>
            <a:pPr lvl="3"/>
            <a:r>
              <a:rPr lang="en-US" dirty="0" smtClean="0"/>
              <a:t>___________________________</a:t>
            </a:r>
          </a:p>
          <a:p>
            <a:pPr lvl="0"/>
            <a:r>
              <a:rPr lang="en-US" dirty="0" smtClean="0"/>
              <a:t>Source:</a:t>
            </a:r>
          </a:p>
          <a:p>
            <a:pPr lvl="1"/>
            <a:r>
              <a:rPr lang="en-US" dirty="0" smtClean="0"/>
              <a:t>Footnotes.</a:t>
            </a:r>
          </a:p>
        </p:txBody>
      </p:sp>
      <p:sp>
        <p:nvSpPr>
          <p:cNvPr id="10" name="plhBulletedText"/>
          <p:cNvSpPr>
            <a:spLocks noGrp="1"/>
          </p:cNvSpPr>
          <p:nvPr>
            <p:ph type="body" sz="quarter" idx="20" hasCustomPrompt="1"/>
          </p:nvPr>
        </p:nvSpPr>
        <p:spPr>
          <a:xfrm>
            <a:off x="184728" y="-334581"/>
            <a:ext cx="11822545" cy="265885"/>
          </a:xfrm>
          <a:solidFill>
            <a:srgbClr val="FEDF87"/>
          </a:solidFill>
          <a:ln>
            <a:solidFill>
              <a:srgbClr val="FF0000"/>
            </a:solidFill>
          </a:ln>
        </p:spPr>
        <p:txBody>
          <a:bodyPr lIns="45720" rIns="45720"/>
          <a:lstStyle>
            <a:lvl1pPr algn="ctr">
              <a:buNone/>
              <a:defRPr baseline="0">
                <a:solidFill>
                  <a:srgbClr val="FF0000"/>
                </a:solidFill>
              </a:defRPr>
            </a:lvl1pPr>
            <a:lvl2pPr>
              <a:buNone/>
              <a:defRPr>
                <a:solidFill>
                  <a:srgbClr val="FF0000"/>
                </a:solidFill>
              </a:defRPr>
            </a:lvl2pPr>
            <a:lvl3pPr>
              <a:buNone/>
              <a:defRPr>
                <a:solidFill>
                  <a:srgbClr val="FF0000"/>
                </a:solidFill>
              </a:defRPr>
            </a:lvl3pPr>
            <a:lvl4pPr>
              <a:buNone/>
              <a:defRPr>
                <a:solidFill>
                  <a:srgbClr val="FF0000"/>
                </a:solidFill>
              </a:defRPr>
            </a:lvl4pPr>
            <a:lvl5pPr>
              <a:buNone/>
              <a:defRPr>
                <a:solidFill>
                  <a:srgbClr val="FF0000"/>
                </a:solidFill>
              </a:defRPr>
            </a:lvl5pPr>
          </a:lstStyle>
          <a:p>
            <a:pPr lvl="0"/>
            <a:r>
              <a:rPr lang="en-US" dirty="0" err="1" smtClean="0"/>
              <a:t>PresBuilder</a:t>
            </a:r>
            <a:r>
              <a:rPr lang="en-US" dirty="0" smtClean="0"/>
              <a:t> Placeholder – Delete this box if you see it on a slide, but DO NOT REMOVE this box from the slide layout. 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 lang="en-GB" smtClean="0"/>
            </a:lvl1pPr>
          </a:lstStyle>
          <a:p>
            <a:fld id="{F13B2F98-6388-49D0-8D62-F18015C4F1B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464318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0" y="1752182"/>
            <a:ext cx="7158433" cy="269495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58982" y="2656227"/>
            <a:ext cx="6160655" cy="88686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/>
          <a:lstStyle>
            <a:lvl1pPr algn="l" defTabSz="899320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883" b="1" kern="1200" baseline="0" dirty="0" smtClean="0">
                <a:solidFill>
                  <a:schemeClr val="bg2"/>
                </a:solidFill>
                <a:latin typeface="+mj-lt"/>
                <a:ea typeface="+mn-ea"/>
                <a:cs typeface="Times New Roman" pitchFamily="18" charset="0"/>
              </a:defRPr>
            </a:lvl1pPr>
          </a:lstStyle>
          <a:p>
            <a:r>
              <a:rPr lang="en-US" dirty="0" smtClean="0"/>
              <a:t>Tab Text Goes Here</a:t>
            </a:r>
            <a:endParaRPr lang="en-US" dirty="0"/>
          </a:p>
        </p:txBody>
      </p:sp>
      <p:sp>
        <p:nvSpPr>
          <p:cNvPr id="6" name="Rechteck 12"/>
          <p:cNvSpPr/>
          <p:nvPr userDrawn="1"/>
        </p:nvSpPr>
        <p:spPr>
          <a:xfrm>
            <a:off x="408062" y="6613589"/>
            <a:ext cx="2552302" cy="255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1059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ADVANCED</a:t>
            </a:r>
            <a:r>
              <a:rPr lang="de-DE" sz="1059" b="1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 MAGNETIC SOLUTIONS</a:t>
            </a:r>
            <a:endParaRPr lang="de-DE" sz="1059" b="1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636" y="336177"/>
            <a:ext cx="1652284" cy="780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0694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  <p15:guide id="2" pos="43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hTOC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lhTOCBody"/>
          <p:cNvSpPr>
            <a:spLocks noGrp="1"/>
          </p:cNvSpPr>
          <p:nvPr>
            <p:ph type="body" sz="quarter" idx="10" hasCustomPrompt="1"/>
          </p:nvPr>
        </p:nvSpPr>
        <p:spPr/>
        <p:txBody>
          <a:bodyPr/>
          <a:lstStyle>
            <a:lvl1pPr marL="605150" indent="-605150">
              <a:lnSpc>
                <a:spcPct val="155000"/>
              </a:lnSpc>
              <a:spcBef>
                <a:spcPts val="0"/>
              </a:spcBef>
              <a:buFont typeface="+mj-lt"/>
              <a:buAutoNum type="arabicPeriod"/>
              <a:tabLst>
                <a:tab pos="7610601" algn="r"/>
              </a:tabLst>
              <a:defRPr/>
            </a:lvl1pPr>
            <a:lvl2pPr marL="1210300" indent="-605150">
              <a:lnSpc>
                <a:spcPct val="155000"/>
              </a:lnSpc>
              <a:spcBef>
                <a:spcPts val="0"/>
              </a:spcBef>
              <a:buSzPct val="100000"/>
              <a:buFont typeface="+mj-lt"/>
              <a:buAutoNum type="alphaUcPeriod"/>
              <a:tabLst>
                <a:tab pos="7610601" algn="r"/>
              </a:tabLst>
              <a:defRPr/>
            </a:lvl2pPr>
            <a:lvl3pPr marL="1815450" indent="-605150">
              <a:lnSpc>
                <a:spcPct val="155000"/>
              </a:lnSpc>
              <a:spcBef>
                <a:spcPts val="0"/>
              </a:spcBef>
              <a:buFont typeface="+mj-lt"/>
              <a:buAutoNum type="romanLcPeriod"/>
              <a:tabLst>
                <a:tab pos="7610601" algn="r"/>
              </a:tabLst>
              <a:defRPr baseline="0"/>
            </a:lvl3pPr>
            <a:lvl4pPr marL="1210300" indent="-605150">
              <a:lnSpc>
                <a:spcPct val="155000"/>
              </a:lnSpc>
              <a:spcBef>
                <a:spcPts val="0"/>
              </a:spcBef>
              <a:buNone/>
              <a:tabLst>
                <a:tab pos="7610601" algn="r"/>
              </a:tabLst>
              <a:defRPr/>
            </a:lvl4pPr>
            <a:lvl5pPr marL="1210300" indent="-605150">
              <a:lnSpc>
                <a:spcPct val="155000"/>
              </a:lnSpc>
              <a:spcBef>
                <a:spcPts val="0"/>
              </a:spcBef>
              <a:buFont typeface="+mj-lt"/>
              <a:buAutoNum type="alphaUcPeriod"/>
              <a:tabLst>
                <a:tab pos="7610601" algn="r"/>
              </a:tabLst>
              <a:defRPr/>
            </a:lvl5pPr>
            <a:lvl6pPr marL="1815450" indent="-605150">
              <a:lnSpc>
                <a:spcPct val="155000"/>
              </a:lnSpc>
              <a:spcBef>
                <a:spcPts val="0"/>
              </a:spcBef>
              <a:buSzPct val="100000"/>
              <a:buFont typeface="+mj-lt"/>
              <a:buAutoNum type="romanLcPeriod"/>
              <a:tabLst>
                <a:tab pos="7610601" algn="r"/>
              </a:tabLst>
              <a:defRPr baseline="0"/>
            </a:lvl6pPr>
            <a:lvl7pPr marL="0" indent="0">
              <a:buNone/>
              <a:defRPr/>
            </a:lvl7pPr>
          </a:lstStyle>
          <a:p>
            <a:pPr lvl="0"/>
            <a:r>
              <a:rPr lang="en-US" dirty="0" smtClean="0"/>
              <a:t>Primary Sections</a:t>
            </a:r>
          </a:p>
          <a:p>
            <a:pPr lvl="1"/>
            <a:r>
              <a:rPr lang="en-US" dirty="0" smtClean="0"/>
              <a:t>Sub-Sections</a:t>
            </a:r>
          </a:p>
          <a:p>
            <a:pPr lvl="2"/>
            <a:r>
              <a:rPr lang="en-US" dirty="0" smtClean="0"/>
              <a:t>Tertiary Sections</a:t>
            </a:r>
          </a:p>
          <a:p>
            <a:pPr lvl="6"/>
            <a:r>
              <a:rPr lang="en-US" dirty="0" smtClean="0"/>
              <a:t>________________________________________________________________________________________</a:t>
            </a:r>
          </a:p>
          <a:p>
            <a:pPr lvl="3"/>
            <a:r>
              <a:rPr lang="en-US" dirty="0" smtClean="0"/>
              <a:t>Appendices</a:t>
            </a:r>
          </a:p>
          <a:p>
            <a:pPr lvl="4"/>
            <a:r>
              <a:rPr lang="en-US" dirty="0" smtClean="0"/>
              <a:t>Appendices Sections</a:t>
            </a:r>
          </a:p>
          <a:p>
            <a:pPr lvl="5"/>
            <a:r>
              <a:rPr lang="en-US" dirty="0" smtClean="0"/>
              <a:t>Appendices Sub-Sections</a:t>
            </a:r>
          </a:p>
          <a:p>
            <a:pPr lvl="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77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51517927-22A3-47E7-8BCD-9B96519139A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16933" cy="12700"/>
          </a:xfrm>
          <a:prstGeom prst="octagon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88751" tIns="44375" rIns="88751" bIns="4437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875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74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07" charset="0"/>
            </a:endParaRPr>
          </a:p>
        </p:txBody>
      </p:sp>
      <p:sp>
        <p:nvSpPr>
          <p:cNvPr id="39" name="ObjectBox25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9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0" name="HeadingBox25" descr="&lt;tags&gt;&lt;tag n=&quot;Format&quot; v=&quot;1&quot; /&gt;&lt;/tags&gt;" hidden="1"/>
          <p:cNvSpPr>
            <a:spLocks noGrp="1"/>
          </p:cNvSpPr>
          <p:nvPr>
            <p:ph type="body" sz="quarter" idx="50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41" name="ObjectBox24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1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2" name="HeadingBox24" descr="&lt;tags&gt;&lt;tag n=&quot;Format&quot; v=&quot;1&quot; /&gt;&lt;/tags&gt;" hidden="1"/>
          <p:cNvSpPr>
            <a:spLocks noGrp="1"/>
          </p:cNvSpPr>
          <p:nvPr>
            <p:ph type="body" sz="quarter" idx="52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43" name="ObjectBox23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3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4" name="HeadingBox23" descr="&lt;tags&gt;&lt;tag n=&quot;Format&quot; v=&quot;1&quot; /&gt;&lt;/tags&gt;" hidden="1"/>
          <p:cNvSpPr>
            <a:spLocks noGrp="1"/>
          </p:cNvSpPr>
          <p:nvPr>
            <p:ph type="body" sz="quarter" idx="54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45" name="ObjectBox22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5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6" name="HeadingBox22" descr="&lt;tags&gt;&lt;tag n=&quot;Format&quot; v=&quot;1&quot; /&gt;&lt;/tags&gt;" hidden="1"/>
          <p:cNvSpPr>
            <a:spLocks noGrp="1"/>
          </p:cNvSpPr>
          <p:nvPr>
            <p:ph type="body" sz="quarter" idx="56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47" name="ObjectBox21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7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8" name="HeadingBox21" descr="&lt;tags&gt;&lt;tag n=&quot;Format&quot; v=&quot;1&quot; /&gt;&lt;/tags&gt;" hidden="1"/>
          <p:cNvSpPr>
            <a:spLocks noGrp="1"/>
          </p:cNvSpPr>
          <p:nvPr>
            <p:ph type="body" sz="quarter" idx="58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49" name="ObjectBox20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9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0" name="HeadingBox20" descr="&lt;tags&gt;&lt;tag n=&quot;Format&quot; v=&quot;1&quot; /&gt;&lt;/tags&gt;" hidden="1"/>
          <p:cNvSpPr>
            <a:spLocks noGrp="1"/>
          </p:cNvSpPr>
          <p:nvPr>
            <p:ph type="body" sz="quarter" idx="60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51" name="ObjectBox19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61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2" name="HeadingBox19" descr="&lt;tags&gt;&lt;tag n=&quot;Format&quot; v=&quot;1&quot; /&gt;&lt;/tags&gt;" hidden="1"/>
          <p:cNvSpPr>
            <a:spLocks noGrp="1"/>
          </p:cNvSpPr>
          <p:nvPr>
            <p:ph type="body" sz="quarter" idx="62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53" name="ObjectBox18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63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4" name="HeadingBox18" descr="&lt;tags&gt;&lt;tag n=&quot;Format&quot; v=&quot;1&quot; /&gt;&lt;/tags&gt;" hidden="1"/>
          <p:cNvSpPr>
            <a:spLocks noGrp="1"/>
          </p:cNvSpPr>
          <p:nvPr>
            <p:ph type="body" sz="quarter" idx="64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55" name="ObjectBox17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65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6" name="HeadingBox17" descr="&lt;tags&gt;&lt;tag n=&quot;Format&quot; v=&quot;1&quot; /&gt;&lt;/tags&gt;" hidden="1"/>
          <p:cNvSpPr>
            <a:spLocks noGrp="1"/>
          </p:cNvSpPr>
          <p:nvPr>
            <p:ph type="body" sz="quarter" idx="66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6" name="ObjectBox16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39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HeadingBox16" descr="&lt;tags&gt;&lt;tag n=&quot;Format&quot; v=&quot;1&quot; /&gt;&lt;/tags&gt;" hidden="1"/>
          <p:cNvSpPr>
            <a:spLocks noGrp="1"/>
          </p:cNvSpPr>
          <p:nvPr>
            <p:ph type="body" sz="quarter" idx="40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8" name="ObjectBox15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1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HeadingBox15" descr="&lt;tags&gt;&lt;tag n=&quot;Format&quot; v=&quot;1&quot; /&gt;&lt;/tags&gt;" hidden="1"/>
          <p:cNvSpPr>
            <a:spLocks noGrp="1"/>
          </p:cNvSpPr>
          <p:nvPr>
            <p:ph type="body" sz="quarter" idx="42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11" name="ObjectBox14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3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HeadingBox14" descr="&lt;tags&gt;&lt;tag n=&quot;Format&quot; v=&quot;1&quot; /&gt;&lt;/tags&gt;" hidden="1"/>
          <p:cNvSpPr>
            <a:spLocks noGrp="1"/>
          </p:cNvSpPr>
          <p:nvPr>
            <p:ph type="body" sz="quarter" idx="44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13" name="ObjectBox13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5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HeadingBox13" descr="&lt;tags&gt;&lt;tag n=&quot;Format&quot; v=&quot;1&quot; /&gt;&lt;/tags&gt;" hidden="1"/>
          <p:cNvSpPr>
            <a:spLocks noGrp="1"/>
          </p:cNvSpPr>
          <p:nvPr>
            <p:ph type="body" sz="quarter" idx="46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15" name="ObjectBox12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33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HeadingBox12" descr="&lt;tags&gt;&lt;tag n=&quot;Format&quot; v=&quot;1&quot; /&gt;&lt;/tags&gt;" hidden="1"/>
          <p:cNvSpPr>
            <a:spLocks noGrp="1"/>
          </p:cNvSpPr>
          <p:nvPr>
            <p:ph type="body" sz="quarter" idx="34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17" name="ObjectBox11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35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HeadingBox11" descr="&lt;tags&gt;&lt;tag n=&quot;Format&quot; v=&quot;1&quot; /&gt;&lt;/tags&gt;" hidden="1"/>
          <p:cNvSpPr>
            <a:spLocks noGrp="1"/>
          </p:cNvSpPr>
          <p:nvPr>
            <p:ph type="body" sz="quarter" idx="36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19" name="ObjectBox10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37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HeadingBox10" descr="&lt;tags&gt;&lt;tag n=&quot;Format&quot; v=&quot;1&quot; /&gt;&lt;/tags&gt;" hidden="1"/>
          <p:cNvSpPr>
            <a:spLocks noGrp="1"/>
          </p:cNvSpPr>
          <p:nvPr>
            <p:ph type="body" sz="quarter" idx="38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21" name="ObjectBox9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9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HeadingBox9" descr="&lt;tags&gt;&lt;tag n=&quot;Format&quot; v=&quot;1&quot; /&gt;&lt;/tags&gt;" hidden="1"/>
          <p:cNvSpPr>
            <a:spLocks noGrp="1"/>
          </p:cNvSpPr>
          <p:nvPr>
            <p:ph type="body" sz="quarter" idx="32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23" name="ObjectBox8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4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HeadingBox8" descr="&lt;tags&gt;&lt;tag n=&quot;Format&quot; v=&quot;1&quot; /&gt;&lt;/tags&gt;" hidden="1"/>
          <p:cNvSpPr>
            <a:spLocks noGrp="1"/>
          </p:cNvSpPr>
          <p:nvPr>
            <p:ph type="body" sz="quarter" idx="23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25" name="ObjectBox7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18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HeadingBox7" descr="&lt;tags&gt;&lt;tag n=&quot;Format&quot; v=&quot;1&quot; /&gt;&lt;/tags&gt;" hidden="1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27" name="ObjectBox6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7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HeadingBox6" descr="&lt;tags&gt;&lt;tag n=&quot;Format&quot; v=&quot;1&quot; /&gt;&lt;/tags&gt;" hidden="1"/>
          <p:cNvSpPr>
            <a:spLocks noGrp="1"/>
          </p:cNvSpPr>
          <p:nvPr>
            <p:ph type="body" sz="quarter" idx="31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29" name="ObjectBox5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1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0" name="HeadingBox5" descr="&lt;tags&gt;&lt;tag n=&quot;Format&quot; v=&quot;1&quot; /&gt;&lt;/tags&gt;" hidden="1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31" name="ObjectBox4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13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2" name="HeadingBox4" descr="&lt;tags&gt;&lt;tag n=&quot;Format&quot; v=&quot;1&quot; /&gt;&lt;/tags&gt;" hidden="1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33" name="ObjectBox3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8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4" name="HeadingBox3" descr="&lt;tags&gt;&lt;tag n=&quot;Format&quot; v=&quot;1&quot; /&gt;&lt;/tags&gt;" hidden="1"/>
          <p:cNvSpPr>
            <a:spLocks noGrp="1"/>
          </p:cNvSpPr>
          <p:nvPr>
            <p:ph type="body" sz="quarter" idx="30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35" name="ObjectBox2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2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6" name="HeadingBox2" descr="&lt;tags&gt;&lt;tag n=&quot;Format&quot; v=&quot;1&quot; /&gt;&lt;/tags&gt;" hidden="1"/>
          <p:cNvSpPr>
            <a:spLocks noGrp="1"/>
          </p:cNvSpPr>
          <p:nvPr>
            <p:ph type="body" sz="quarter" idx="20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37" name="ObjectBox1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7"/>
          </p:nvPr>
        </p:nvSpPr>
        <p:spPr>
          <a:xfrm>
            <a:off x="3048000" y="1714500"/>
            <a:ext cx="6096000" cy="3429000"/>
          </a:xfrm>
        </p:spPr>
        <p:txBody>
          <a:bodyPr tIns="64800"/>
          <a:lstStyle>
            <a:lvl1pPr>
              <a:defRPr sz="1165"/>
            </a:lvl1pPr>
            <a:lvl2pPr>
              <a:defRPr sz="1165"/>
            </a:lvl2pPr>
            <a:lvl3pPr>
              <a:defRPr sz="1165"/>
            </a:lvl3pPr>
            <a:lvl4pPr>
              <a:defRPr sz="1165"/>
            </a:lvl4pPr>
            <a:lvl5pPr>
              <a:defRPr sz="116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8" name="HeadingBox1" descr="&lt;tags&gt;&lt;tag n=&quot;Format&quot; v=&quot;1&quot; /&gt;&lt;/tags&gt;" hidden="1"/>
          <p:cNvSpPr>
            <a:spLocks noGrp="1"/>
          </p:cNvSpPr>
          <p:nvPr>
            <p:ph type="body" sz="quarter" idx="48" hasCustomPrompt="1"/>
          </p:nvPr>
        </p:nvSpPr>
        <p:spPr>
          <a:xfrm>
            <a:off x="3048000" y="1491821"/>
            <a:ext cx="6096000" cy="22268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5200" anchor="b" anchorCtr="0">
            <a:spAutoFit/>
          </a:bodyPr>
          <a:lstStyle>
            <a:lvl1pPr>
              <a:spcBef>
                <a:spcPts val="0"/>
              </a:spcBef>
              <a:defRPr sz="116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</a:t>
            </a:r>
          </a:p>
        </p:txBody>
      </p:sp>
      <p:sp>
        <p:nvSpPr>
          <p:cNvPr id="5" name="MessageStatement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00001" y="5738253"/>
            <a:ext cx="10982401" cy="291748"/>
          </a:xfrm>
          <a:solidFill>
            <a:schemeClr val="tx2"/>
          </a:solidFill>
          <a:ln w="6350">
            <a:solidFill>
              <a:schemeClr val="tx2"/>
            </a:solidFill>
          </a:ln>
          <a:effectLst/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altLang="ja-JP" sz="1165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ja-JP" noProof="0" dirty="0"/>
              <a:t>Message statement</a:t>
            </a:r>
          </a:p>
        </p:txBody>
      </p:sp>
      <p:sp>
        <p:nvSpPr>
          <p:cNvPr id="58" name="Subtitle"/>
          <p:cNvSpPr>
            <a:spLocks noGrp="1"/>
          </p:cNvSpPr>
          <p:nvPr>
            <p:ph type="body" sz="quarter" idx="68" hasCustomPrompt="1"/>
          </p:nvPr>
        </p:nvSpPr>
        <p:spPr>
          <a:xfrm>
            <a:off x="599018" y="482600"/>
            <a:ext cx="9626600" cy="29572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747" b="0" kern="1200" dirty="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pPr marL="0" lvl="0" indent="0" defTabSz="887553" eaLnBrk="1" latinLnBrk="0" hangingPunct="1">
              <a:spcBef>
                <a:spcPct val="0"/>
              </a:spcBef>
              <a:buFont typeface="Arial" pitchFamily="34" charset="0"/>
              <a:buNone/>
            </a:pPr>
            <a:r>
              <a:rPr lang="en-US" dirty="0"/>
              <a:t>Subtitle</a:t>
            </a:r>
          </a:p>
        </p:txBody>
      </p:sp>
      <p:sp>
        <p:nvSpPr>
          <p:cNvPr id="61" name="Title 6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376587" y="6667501"/>
            <a:ext cx="284131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71" b="1">
                <a:solidFill>
                  <a:srgbClr val="CFD9E3"/>
                </a:solidFill>
                <a:latin typeface="Arial Narrow" panose="020B0606020202030204" pitchFamily="34" charset="0"/>
              </a:defRPr>
            </a:lvl1pPr>
          </a:lstStyle>
          <a:p>
            <a:fld id="{5E79C846-8AE0-48E4-AA15-7381EF5CDBAE}" type="slidenum">
              <a:rPr lang="de-DE" altLang="de-DE" smtClean="0">
                <a:latin typeface="Arial" panose="020B0604020202020204" pitchFamily="34" charset="0"/>
              </a:rPr>
              <a:pPr/>
              <a:t>‹#›</a:t>
            </a:fld>
            <a:endParaRPr lang="de-DE" alt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124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91" name="think-cell Slide" r:id="rId5" imgW="442" imgH="440" progId="TCLayout.ActiveDocument.1">
                  <p:embed/>
                </p:oleObj>
              </mc:Choice>
              <mc:Fallback>
                <p:oleObj name="think-cell Slide" r:id="rId5" imgW="442" imgH="44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>
          <a:xfrm>
            <a:off x="0" y="-4324"/>
            <a:ext cx="12192000" cy="6857998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90575" y="3323010"/>
            <a:ext cx="5928852" cy="1126896"/>
          </a:xfrm>
          <a:prstGeom prst="rect">
            <a:avLst/>
          </a:prstGeo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noProof="0" dirty="0" smtClean="0"/>
              <a:t>MASTERTITELFORMAT </a:t>
            </a:r>
            <a:br>
              <a:rPr lang="de-DE" noProof="0" dirty="0" smtClean="0"/>
            </a:br>
            <a:r>
              <a:rPr lang="de-DE" noProof="0" dirty="0" smtClean="0"/>
              <a:t>BEARBEITEN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16716" y="4520026"/>
            <a:ext cx="5476568" cy="6061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pPr lvl="0"/>
            <a:r>
              <a:rPr lang="de-DE" noProof="0" dirty="0" smtClean="0"/>
              <a:t>Monat XXXX</a:t>
            </a:r>
            <a:endParaRPr lang="de-DE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8003" y="1407600"/>
            <a:ext cx="2753028" cy="1836000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0" y="6598809"/>
            <a:ext cx="34538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bg1"/>
                </a:solidFill>
              </a:rPr>
              <a:t>ADVANCED</a:t>
            </a:r>
            <a:r>
              <a:rPr lang="de-DE" sz="1200" b="1" baseline="0" dirty="0" smtClean="0">
                <a:solidFill>
                  <a:schemeClr val="bg1"/>
                </a:solidFill>
              </a:rPr>
              <a:t> MATERIALS – THE KEY TO PROGRESS 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12" name="Rechteck 10"/>
          <p:cNvSpPr/>
          <p:nvPr userDrawn="1"/>
        </p:nvSpPr>
        <p:spPr>
          <a:xfrm>
            <a:off x="10427071" y="6598809"/>
            <a:ext cx="18301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bg1"/>
                </a:solidFill>
              </a:rPr>
              <a:t>COMPANY CONFIDENTIAL</a:t>
            </a:r>
            <a:endParaRPr lang="de-DE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28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Fließ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Das ist eine Zwischenüberschrift</a:t>
            </a:r>
            <a:endParaRPr lang="de-DE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9407" y="1544079"/>
            <a:ext cx="10581660" cy="43264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aseline="0">
                <a:latin typeface="+mn-lt"/>
              </a:defRPr>
            </a:lvl1pPr>
            <a:lvl2pPr marL="457189" indent="0">
              <a:buFontTx/>
              <a:buNone/>
              <a:defRPr sz="2000">
                <a:latin typeface="Arial Narrow" panose="020B0606020202030204" pitchFamily="34" charset="0"/>
              </a:defRPr>
            </a:lvl2pPr>
            <a:lvl3pPr marL="914377" indent="0">
              <a:buFontTx/>
              <a:buNone/>
              <a:defRPr sz="2000">
                <a:latin typeface="Arial Narrow" panose="020B0606020202030204" pitchFamily="34" charset="0"/>
              </a:defRPr>
            </a:lvl3pPr>
            <a:lvl4pPr marL="1371566" indent="0">
              <a:buFontTx/>
              <a:buNone/>
              <a:defRPr sz="2000">
                <a:latin typeface="Arial Narrow" panose="020B0606020202030204" pitchFamily="34" charset="0"/>
              </a:defRPr>
            </a:lvl4pPr>
            <a:lvl5pPr marL="1828754" indent="0">
              <a:buFontTx/>
              <a:buNone/>
              <a:defRPr sz="2000">
                <a:latin typeface="Arial Narrow" panose="020B060602020203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 ist ein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n ihm kann man sehen, ob alle Buchstaben da sind und wie sie aussehen. Manchmal benutzt man Worte wie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burgefont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fgenduk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er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dglove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Schriften zu testen. Manchmal Sätze, die alle Buchstaben des Alphabets enthalten - man nennt diese Sätze »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gram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. Sehr bekannt ist dieser: The quick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wn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x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mp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zy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Oft werden in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ch fremdsprachige Satzteile eingebaut (AVAIL®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fox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™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stin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si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rnin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um die Wirkung in anderen Sprachen zu testen. In Lateinisch sieht zum Beispiel fast jede Schrift gut aus.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o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at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onstrandum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Seit 1975 fehlen in den meisten Testtexten die Zahlen, weswegen nach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Gb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4 § ab dem Jahr 2034 Zahlen in 86 der Texte zur Pflicht werden. Nichteinhaltung wird mit bis zu 245 € oder 368 $ bestraft. Genauso wichtig in sind mittlerweile auch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Âçcèñtë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in neueren Schriften aber fast immer enthalten sind. </a:t>
            </a:r>
            <a:endParaRPr lang="de-DE" sz="2000" noProof="0" dirty="0">
              <a:latin typeface="+mn-lt"/>
            </a:endParaRPr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</a:t>
            </a:r>
            <a:r>
              <a:rPr lang="de-DE" dirty="0" smtClean="0"/>
              <a:t> bearbeiten</a:t>
            </a:r>
            <a:br>
              <a:rPr lang="de-DE" dirty="0" smtClean="0"/>
            </a:br>
            <a:r>
              <a:rPr lang="de-DE" dirty="0" smtClean="0"/>
              <a:t>Mastertitelformat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843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44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985806"/>
            <a:ext cx="5905707" cy="3054282"/>
          </a:xfrm>
          <a:prstGeom prst="rect">
            <a:avLst/>
          </a:prstGeom>
        </p:spPr>
      </p:pic>
      <p:sp>
        <p:nvSpPr>
          <p:cNvPr id="12" name="Titel 5">
            <a:extLst>
              <a:ext uri="{FF2B5EF4-FFF2-40B4-BE49-F238E27FC236}">
                <a16:creationId xmlns:a16="http://schemas.microsoft.com/office/drawing/2014/main" id="{4831C3B7-9E09-469B-A02E-193B6B7A5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10" y="2472390"/>
            <a:ext cx="5476351" cy="132556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4400"/>
              </a:lnSpc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noProof="0" dirty="0" smtClean="0"/>
              <a:t>MASTERTITELFORMAT </a:t>
            </a:r>
            <a:br>
              <a:rPr lang="de-DE" noProof="0" dirty="0" smtClean="0"/>
            </a:br>
            <a:r>
              <a:rPr lang="de-DE" noProof="0" dirty="0" smtClean="0"/>
              <a:t>BEARBEITEN</a:t>
            </a:r>
            <a:endParaRPr lang="de-DE" noProof="0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659352DB-4EB8-4BDC-8A50-1D1AA6AA3F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3802448"/>
            <a:ext cx="5465179" cy="6016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de-DE" noProof="0" dirty="0" smtClean="0"/>
              <a:t>Monat XXXX</a:t>
            </a:r>
            <a:endParaRPr lang="de-DE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1607" y="-6870"/>
            <a:ext cx="1040023" cy="1040023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0" y="6598809"/>
            <a:ext cx="33085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tx2"/>
                </a:solidFill>
              </a:rPr>
              <a:t>ADVANCED MATERIALS</a:t>
            </a:r>
            <a:r>
              <a:rPr lang="de-DE" sz="1200" b="1" baseline="0" dirty="0" smtClean="0">
                <a:solidFill>
                  <a:schemeClr val="tx2"/>
                </a:solidFill>
              </a:rPr>
              <a:t> – THE KEY TO PROGRESS</a:t>
            </a:r>
            <a:endParaRPr lang="de-DE" sz="1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111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Fließ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Das ist eine Zwischenüberschrift</a:t>
            </a:r>
            <a:endParaRPr lang="de-DE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9407" y="1544079"/>
            <a:ext cx="10581660" cy="432645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aseline="0">
                <a:latin typeface="+mn-lt"/>
              </a:defRPr>
            </a:lvl1pPr>
            <a:lvl2pPr marL="457189" indent="0">
              <a:buFontTx/>
              <a:buNone/>
              <a:defRPr sz="2000">
                <a:latin typeface="Arial Narrow" panose="020B0606020202030204" pitchFamily="34" charset="0"/>
              </a:defRPr>
            </a:lvl2pPr>
            <a:lvl3pPr marL="914377" indent="0">
              <a:buFontTx/>
              <a:buNone/>
              <a:defRPr sz="2000">
                <a:latin typeface="Arial Narrow" panose="020B0606020202030204" pitchFamily="34" charset="0"/>
              </a:defRPr>
            </a:lvl3pPr>
            <a:lvl4pPr marL="1371566" indent="0">
              <a:buFontTx/>
              <a:buNone/>
              <a:defRPr sz="2000">
                <a:latin typeface="Arial Narrow" panose="020B0606020202030204" pitchFamily="34" charset="0"/>
              </a:defRPr>
            </a:lvl4pPr>
            <a:lvl5pPr marL="1828754" indent="0">
              <a:buFontTx/>
              <a:buNone/>
              <a:defRPr sz="2000">
                <a:latin typeface="Arial Narrow" panose="020B060602020203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 ist ein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n ihm kann man sehen, ob alle Buchstaben da sind und wie sie aussehen. Manchmal benutzt man Worte wie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burgefont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fgenduk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er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dglove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Schriften zu testen. Manchmal Sätze, die alle Buchstaben des Alphabets enthalten - man nennt diese Sätze »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gram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. Sehr bekannt ist dieser: The quick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wn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x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mp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zy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Oft werden in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ch fremdsprachige Satzteile eingebaut (AVAIL®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fox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™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stin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si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rnin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um die Wirkung in anderen Sprachen zu testen. In Lateinisch sieht zum Beispiel fast jede Schrift gut aus.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o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at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onstrandum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Seit 1975 fehlen in den meisten Testtexten die Zahlen, weswegen nach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Gb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4 § ab dem Jahr 2034 Zahlen in 86 der Texte zur Pflicht werden. Nichteinhaltung wird mit bis zu 245 € oder 368 $ bestraft. Genauso wichtig in sind mittlerweile auch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Âçcèñtë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in neueren Schriften aber fast immer enthalten sind. </a:t>
            </a:r>
            <a:endParaRPr lang="de-DE" sz="2000" noProof="0" dirty="0">
              <a:latin typeface="+mn-lt"/>
            </a:endParaRPr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</a:t>
            </a:r>
            <a:r>
              <a:rPr lang="de-DE" dirty="0" smtClean="0"/>
              <a:t> bearbeiten</a:t>
            </a:r>
            <a:br>
              <a:rPr lang="de-DE" dirty="0" smtClean="0"/>
            </a:br>
            <a:r>
              <a:rPr lang="de-DE" dirty="0" smtClean="0"/>
              <a:t>Mastertitelformat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4019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792D634D-961B-46E3-8D23-C8185419A8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801" y="1515609"/>
            <a:ext cx="10582267" cy="4594225"/>
          </a:xfrm>
          <a:prstGeom prst="rect">
            <a:avLst/>
          </a:prstGeom>
        </p:spPr>
        <p:txBody>
          <a:bodyPr/>
          <a:lstStyle>
            <a:lvl1pPr marL="342891" indent="-342891"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800080" indent="-342891">
              <a:buSzPct val="100000"/>
              <a:buFont typeface="Arial" panose="020B0604020202020204" pitchFamily="34" charset="0"/>
              <a:buChar char="•"/>
              <a:defRPr sz="2000">
                <a:latin typeface="Arial Narrow" panose="020B0606020202030204" pitchFamily="34" charset="0"/>
              </a:defRPr>
            </a:lvl2pPr>
            <a:lvl3pPr marL="1165196" indent="-250819">
              <a:buFont typeface="Arial" panose="020B0604020202020204" pitchFamily="34" charset="0"/>
              <a:buChar char="•"/>
              <a:defRPr/>
            </a:lvl3pPr>
            <a:lvl4pPr>
              <a:defRPr/>
            </a:lvl4pPr>
          </a:lstStyle>
          <a:p>
            <a:pPr lvl="0"/>
            <a:r>
              <a:rPr lang="de-DE" noProof="0" dirty="0" smtClean="0"/>
              <a:t>Zwei flinke Boxer jagen die quirlige Eva und ihren Mops durch Sylt.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0"/>
            <a:r>
              <a:rPr lang="de-DE" noProof="0" dirty="0" smtClean="0"/>
              <a:t>Franz jagt im komplett verwahrlosten Taxi quer durch Bayern. </a:t>
            </a:r>
          </a:p>
          <a:p>
            <a:pPr lvl="0"/>
            <a:r>
              <a:rPr lang="de-DE" noProof="0" dirty="0" smtClean="0"/>
              <a:t>Vogel </a:t>
            </a:r>
            <a:r>
              <a:rPr lang="de-DE" noProof="0" dirty="0" err="1" smtClean="0"/>
              <a:t>Quax</a:t>
            </a:r>
            <a:r>
              <a:rPr lang="de-DE" noProof="0" dirty="0" smtClean="0"/>
              <a:t> zwickt Johnys Pferd Bim. Sylvia wagt quick den Jux bei Pforzheim. </a:t>
            </a:r>
          </a:p>
          <a:p>
            <a:pPr lvl="0"/>
            <a:r>
              <a:rPr lang="de-DE" noProof="0" dirty="0" smtClean="0"/>
              <a:t>Polyfon zwitschernd aßen </a:t>
            </a:r>
            <a:r>
              <a:rPr lang="de-DE" noProof="0" dirty="0" err="1" smtClean="0"/>
              <a:t>Mäxchens</a:t>
            </a:r>
            <a:r>
              <a:rPr lang="de-DE" noProof="0" dirty="0" smtClean="0"/>
              <a:t> Vögel Rüben, Joghurt und Quark. </a:t>
            </a:r>
          </a:p>
          <a:p>
            <a:pPr lvl="0"/>
            <a:r>
              <a:rPr lang="de-DE" noProof="0" dirty="0" smtClean="0"/>
              <a:t>"Fix, Schwyz!" quäkt Jürgen blöd vom </a:t>
            </a:r>
            <a:r>
              <a:rPr lang="de-DE" noProof="0" dirty="0" err="1" smtClean="0"/>
              <a:t>Paß</a:t>
            </a:r>
            <a:r>
              <a:rPr lang="de-DE" noProof="0" dirty="0" smtClean="0"/>
              <a:t>. </a:t>
            </a:r>
          </a:p>
          <a:p>
            <a:pPr lvl="0"/>
            <a:r>
              <a:rPr lang="de-DE" noProof="0" dirty="0" smtClean="0"/>
              <a:t>Victor jagt zwölf Boxkämpfer quer über den großen </a:t>
            </a:r>
            <a:r>
              <a:rPr lang="de-DE" noProof="0" dirty="0" err="1" smtClean="0"/>
              <a:t>Sylter</a:t>
            </a:r>
            <a:r>
              <a:rPr lang="de-DE" noProof="0" dirty="0" smtClean="0"/>
              <a:t> Deich. </a:t>
            </a:r>
          </a:p>
          <a:p>
            <a:pPr lvl="0"/>
            <a:r>
              <a:rPr lang="de-DE" noProof="0" dirty="0" smtClean="0"/>
              <a:t>Falsches Üben von </a:t>
            </a:r>
            <a:r>
              <a:rPr lang="de-DE" noProof="0" dirty="0" err="1" smtClean="0"/>
              <a:t>Xylophonmusik</a:t>
            </a:r>
            <a:r>
              <a:rPr lang="de-DE" noProof="0" dirty="0" smtClean="0"/>
              <a:t> quält jeden größeren Zwerg. </a:t>
            </a:r>
          </a:p>
          <a:p>
            <a:pPr lvl="0"/>
            <a:r>
              <a:rPr lang="de-DE" noProof="0" dirty="0" err="1" smtClean="0"/>
              <a:t>Heizölrückstoßabdämpfung</a:t>
            </a:r>
            <a:r>
              <a:rPr lang="de-DE" noProof="0" dirty="0" smtClean="0"/>
              <a:t>.</a:t>
            </a:r>
          </a:p>
          <a:p>
            <a:pPr lvl="4"/>
            <a:endParaRPr lang="de-DE" noProof="0" dirty="0"/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 bearbeiten</a:t>
            </a:r>
            <a:br>
              <a:rPr lang="de-DE" noProof="0" dirty="0" smtClean="0"/>
            </a:br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Hier folgt eine Aufzählu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0379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8801" y="1569475"/>
            <a:ext cx="10582267" cy="4421631"/>
          </a:xfrm>
          <a:prstGeom prst="rect">
            <a:avLst/>
          </a:prstGeom>
        </p:spPr>
        <p:txBody>
          <a:bodyPr>
            <a:noAutofit/>
          </a:bodyPr>
          <a:lstStyle>
            <a:lvl1pPr marL="514338" marR="0" indent="-514338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+mj-lt"/>
              <a:buAutoNum type="arabicPeriod"/>
              <a:tabLst/>
              <a:defRPr lang="en-US"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96916" indent="-449251">
              <a:buSzPct val="100000"/>
              <a:buFont typeface="+mj-lt"/>
              <a:buAutoNum type="arabicPeriod"/>
              <a:defRPr lang="en-US" sz="2000" kern="1200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71566" indent="-457189">
              <a:buSzPct val="100000"/>
              <a:buFont typeface="+mj-lt"/>
              <a:buAutoNum type="arabicPeriod"/>
              <a:defRPr>
                <a:latin typeface="Arial Narrow" panose="020B0606020202030204" pitchFamily="34" charset="0"/>
              </a:defRPr>
            </a:lvl3pPr>
            <a:lvl4pPr marL="1828754" indent="-457189">
              <a:buSzPct val="100000"/>
              <a:buAutoNum type="arabicPeriod"/>
              <a:defRPr sz="2000">
                <a:latin typeface="Arial Narrow" panose="020B0606020202030204" pitchFamily="34" charset="0"/>
              </a:defRPr>
            </a:lvl4pPr>
            <a:lvl5pPr marL="2285943" indent="-457189">
              <a:buSzPct val="100000"/>
              <a:buFont typeface="+mj-lt"/>
              <a:buAutoNum type="arabicPeriod"/>
              <a:defRPr sz="2000">
                <a:latin typeface="Arial Narrow" panose="020B0606020202030204" pitchFamily="34" charset="0"/>
              </a:defRPr>
            </a:lvl5pPr>
            <a:lvl6pPr>
              <a:buSzPct val="100000"/>
              <a:defRPr sz="2000">
                <a:latin typeface="Arial Narrow" panose="020B0606020202030204" pitchFamily="34" charset="0"/>
              </a:defRPr>
            </a:lvl6pPr>
          </a:lstStyle>
          <a:p>
            <a:pPr lvl="0"/>
            <a:r>
              <a:rPr lang="de-DE" dirty="0" smtClean="0"/>
              <a:t>Zwei flinke Boxer jagen die quirlige Eva und ihren Mops durch Sylt. 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0"/>
            <a:r>
              <a:rPr lang="de-DE" dirty="0" smtClean="0"/>
              <a:t>Franz jagt im komplett verwahrlosten Taxi quer durch Bayern. </a:t>
            </a:r>
          </a:p>
          <a:p>
            <a:pPr lvl="0"/>
            <a:r>
              <a:rPr lang="de-DE" dirty="0" smtClean="0"/>
              <a:t>Vogel </a:t>
            </a:r>
            <a:r>
              <a:rPr lang="de-DE" dirty="0" err="1" smtClean="0"/>
              <a:t>Quax</a:t>
            </a:r>
            <a:r>
              <a:rPr lang="de-DE" dirty="0" smtClean="0"/>
              <a:t> zwickt Johnys Pferd Bim. Sylvia wagt quick den Jux bei Pforzheim. </a:t>
            </a:r>
          </a:p>
          <a:p>
            <a:pPr lvl="0"/>
            <a:r>
              <a:rPr lang="de-DE" dirty="0" smtClean="0"/>
              <a:t>Polyfon zwitschernd aßen </a:t>
            </a:r>
            <a:r>
              <a:rPr lang="de-DE" dirty="0" err="1" smtClean="0"/>
              <a:t>Mäxchens</a:t>
            </a:r>
            <a:r>
              <a:rPr lang="de-DE" dirty="0" smtClean="0"/>
              <a:t> Vögel Rüben, Joghurt und Quark. </a:t>
            </a:r>
          </a:p>
          <a:p>
            <a:pPr lvl="0"/>
            <a:r>
              <a:rPr lang="de-DE" dirty="0" smtClean="0"/>
              <a:t>"Fix, Schwyz!" quäkt Jürgen blöd vom </a:t>
            </a:r>
            <a:r>
              <a:rPr lang="de-DE" dirty="0" err="1" smtClean="0"/>
              <a:t>Paß</a:t>
            </a:r>
            <a:r>
              <a:rPr lang="de-DE" dirty="0" smtClean="0"/>
              <a:t>. </a:t>
            </a:r>
          </a:p>
          <a:p>
            <a:pPr lvl="0"/>
            <a:r>
              <a:rPr lang="de-DE" dirty="0" smtClean="0"/>
              <a:t>Victor jagt zwölf Boxkämpfer quer über den großen </a:t>
            </a:r>
            <a:r>
              <a:rPr lang="de-DE" dirty="0" err="1" smtClean="0"/>
              <a:t>Sylter</a:t>
            </a:r>
            <a:r>
              <a:rPr lang="de-DE" dirty="0" smtClean="0"/>
              <a:t> Deich. </a:t>
            </a:r>
          </a:p>
          <a:p>
            <a:pPr lvl="0"/>
            <a:r>
              <a:rPr lang="de-DE" dirty="0" smtClean="0"/>
              <a:t>Falsches Üben von </a:t>
            </a:r>
            <a:r>
              <a:rPr lang="de-DE" dirty="0" err="1" smtClean="0"/>
              <a:t>Xylophonmusik</a:t>
            </a:r>
            <a:r>
              <a:rPr lang="de-DE" dirty="0" smtClean="0"/>
              <a:t> quält jeden größeren Zwerg. </a:t>
            </a:r>
          </a:p>
          <a:p>
            <a:pPr lvl="0"/>
            <a:r>
              <a:rPr lang="de-DE" dirty="0" err="1" smtClean="0"/>
              <a:t>Heizölrückstoßabdämpfung</a:t>
            </a:r>
            <a:r>
              <a:rPr lang="de-DE" dirty="0" smtClean="0"/>
              <a:t>.</a:t>
            </a:r>
          </a:p>
          <a:p>
            <a:pPr marL="514338" marR="0" lvl="0" indent="-514338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80000"/>
              <a:buFont typeface="Wingdings 2" panose="05020102010507070707" pitchFamily="18" charset="2"/>
              <a:buAutoNum type="arabicPeriod"/>
              <a:tabLst/>
              <a:defRPr/>
            </a:pPr>
            <a:endParaRPr lang="de-DE" noProof="0" dirty="0" smtClean="0"/>
          </a:p>
          <a:p>
            <a:endParaRPr lang="de-DE" noProof="0" dirty="0" smtClean="0"/>
          </a:p>
          <a:p>
            <a:endParaRPr lang="de-DE" noProof="0" dirty="0" smtClean="0"/>
          </a:p>
          <a:p>
            <a:pPr lvl="4"/>
            <a:endParaRPr lang="de-DE" noProof="0" dirty="0" smtClean="0"/>
          </a:p>
          <a:p>
            <a:pPr lvl="4"/>
            <a:endParaRPr lang="de-DE" noProof="0" dirty="0" smtClean="0"/>
          </a:p>
          <a:p>
            <a:pPr lvl="2"/>
            <a:endParaRPr lang="de-DE" noProof="0" dirty="0" smtClean="0"/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 bearbeiten</a:t>
            </a:r>
            <a:br>
              <a:rPr lang="de-DE" noProof="0" dirty="0" smtClean="0"/>
            </a:br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Hier folgt eine Nummerieru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273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7045467" y="1661650"/>
            <a:ext cx="4444180" cy="4237704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>
              <a:buSzPct val="100000"/>
              <a:buFont typeface="Arial" panose="020B0604020202020204" pitchFamily="34" charset="0"/>
              <a:buChar char="•"/>
              <a:defRPr sz="2000">
                <a:latin typeface="Arial Narrow" panose="020B0606020202030204" pitchFamily="34" charset="0"/>
              </a:defRPr>
            </a:lvl1pPr>
          </a:lstStyle>
          <a:p>
            <a:r>
              <a:rPr lang="de-DE" noProof="0" dirty="0" smtClean="0"/>
              <a:t>Bild</a:t>
            </a:r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7542" y="1661655"/>
            <a:ext cx="5141503" cy="423770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/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 ist ein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n ihm kann man sehen, ob alle Buchstaben da sind und wie sie aussehen. Manchmal benutzt man Worte wie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burgefont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fgenduk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er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dglove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Schriften zu testen. Manchmal Sätze, die alle Buchstaben des Alphabets enthalten - man nennt diese Sätze »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gram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. Sehr bekannt ist dieser: The quick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wn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x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mp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zy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de-DE" sz="2000" noProof="0" dirty="0">
              <a:latin typeface="+mn-lt"/>
            </a:endParaRPr>
          </a:p>
        </p:txBody>
      </p:sp>
      <p:sp>
        <p:nvSpPr>
          <p:cNvPr id="7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dirty="0" smtClean="0"/>
              <a:t>Mastertitelformat bearbeiten</a:t>
            </a: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dirty="0" smtClean="0"/>
              <a:t>Mastertitelformat bearbeiten</a:t>
            </a:r>
            <a:endParaRPr lang="de-DE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Dies ist eine Zwischenüberschrif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8388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 bearbeiten</a:t>
            </a:r>
            <a:br>
              <a:rPr lang="de-DE" noProof="0" dirty="0" smtClean="0"/>
            </a:br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Dies ist eine Zwischenüberschrif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1940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mat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437537" y="1215519"/>
            <a:ext cx="6163291" cy="3699391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891" marR="0" lvl="0" indent="-342891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hriftart: 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dline: Calibri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ießtext: Arial Narrow</a:t>
            </a:r>
            <a:endParaRPr lang="de-DE" sz="2000" kern="1200" baseline="0" noProof="0" dirty="0" smtClean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marL="342891" marR="0" lvl="0" indent="-342891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schrift: 28 pt, fett, dunkelblau: 0/64/97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wischenüberschriften und Hervorhebungen: 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 pt, fett schwarz: 0/64/97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ießtext: 20 pt, schwarz, Zeilenabstand 1,5 </a:t>
            </a:r>
            <a:endParaRPr lang="de-DE" sz="2000" kern="1200" baseline="0" noProof="0" dirty="0" smtClean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marL="342891" marR="0" lvl="0" indent="-342891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fzählungszeichen: blaue Punkte</a:t>
            </a:r>
          </a:p>
          <a:p>
            <a:pPr marL="342891" marR="0" lvl="0" indent="-342891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rben in Abstufungen (RGB-Werte):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au: dunkel: 0/64/97, mittel: 103/130/156, hell: 194/205/215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noProof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rPr>
              <a:t>dunkel: 50/110/160, mittel: 80/140/180, hell: 175/200/215</a:t>
            </a:r>
          </a:p>
          <a:p>
            <a:pPr marL="342891" lvl="0" indent="-342891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</a:pPr>
            <a:endParaRPr lang="de-DE" sz="20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1026515" y="4914910"/>
            <a:ext cx="1135356" cy="1351153"/>
            <a:chOff x="7156367" y="2799672"/>
            <a:chExt cx="1135356" cy="1351153"/>
          </a:xfrm>
        </p:grpSpPr>
        <p:sp>
          <p:nvSpPr>
            <p:cNvPr id="6" name="Richtungspfeil 5"/>
            <p:cNvSpPr/>
            <p:nvPr userDrawn="1"/>
          </p:nvSpPr>
          <p:spPr>
            <a:xfrm rot="16200000">
              <a:off x="7446297" y="3305399"/>
              <a:ext cx="1351153" cy="339699"/>
            </a:xfrm>
            <a:prstGeom prst="homePlate">
              <a:avLst/>
            </a:prstGeom>
            <a:solidFill>
              <a:srgbClr val="C2CD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sp>
          <p:nvSpPr>
            <p:cNvPr id="7" name="Richtungspfeil 6"/>
            <p:cNvSpPr/>
            <p:nvPr userDrawn="1"/>
          </p:nvSpPr>
          <p:spPr>
            <a:xfrm rot="16200000">
              <a:off x="7079870" y="3337479"/>
              <a:ext cx="1286993" cy="339699"/>
            </a:xfrm>
            <a:prstGeom prst="homePlate">
              <a:avLst/>
            </a:prstGeom>
            <a:solidFill>
              <a:srgbClr val="6782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sp>
          <p:nvSpPr>
            <p:cNvPr id="9" name="Richtungspfeil 8"/>
            <p:cNvSpPr/>
            <p:nvPr userDrawn="1"/>
          </p:nvSpPr>
          <p:spPr>
            <a:xfrm rot="16200000">
              <a:off x="6738197" y="3394313"/>
              <a:ext cx="1174681" cy="338342"/>
            </a:xfrm>
            <a:prstGeom prst="homePlate">
              <a:avLst/>
            </a:prstGeom>
            <a:solidFill>
              <a:srgbClr val="0040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B76AFC93-8E09-43D0-9EE2-3FC62A416AE7}"/>
              </a:ext>
            </a:extLst>
          </p:cNvPr>
          <p:cNvSpPr txBox="1"/>
          <p:nvPr userDrawn="1"/>
        </p:nvSpPr>
        <p:spPr>
          <a:xfrm>
            <a:off x="7366161" y="1285818"/>
            <a:ext cx="2616040" cy="4096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891" lvl="0" indent="-342891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2000" kern="1200" baseline="0" noProof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rPr>
              <a:t>Logo</a:t>
            </a:r>
            <a:endParaRPr lang="de-DE" sz="2000" kern="1200" baseline="0" noProof="0" dirty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Formatvorlage Schrift</a:t>
            </a:r>
            <a:endParaRPr lang="de-DE" noProof="0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2304707" y="4922938"/>
            <a:ext cx="1135356" cy="1351153"/>
            <a:chOff x="7156367" y="2799672"/>
            <a:chExt cx="1135356" cy="1351153"/>
          </a:xfrm>
        </p:grpSpPr>
        <p:sp>
          <p:nvSpPr>
            <p:cNvPr id="13" name="Richtungspfeil 12"/>
            <p:cNvSpPr/>
            <p:nvPr userDrawn="1"/>
          </p:nvSpPr>
          <p:spPr>
            <a:xfrm rot="16200000">
              <a:off x="7446297" y="3305399"/>
              <a:ext cx="1351153" cy="339699"/>
            </a:xfrm>
            <a:prstGeom prst="homePlate">
              <a:avLst/>
            </a:prstGeom>
            <a:solidFill>
              <a:srgbClr val="AFC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sp>
          <p:nvSpPr>
            <p:cNvPr id="14" name="Richtungspfeil 13"/>
            <p:cNvSpPr/>
            <p:nvPr userDrawn="1"/>
          </p:nvSpPr>
          <p:spPr>
            <a:xfrm rot="16200000">
              <a:off x="7079870" y="3337479"/>
              <a:ext cx="1286993" cy="339699"/>
            </a:xfrm>
            <a:prstGeom prst="homePlate">
              <a:avLst/>
            </a:prstGeom>
            <a:solidFill>
              <a:srgbClr val="508C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sp>
          <p:nvSpPr>
            <p:cNvPr id="15" name="Richtungspfeil 14"/>
            <p:cNvSpPr/>
            <p:nvPr userDrawn="1"/>
          </p:nvSpPr>
          <p:spPr>
            <a:xfrm rot="16200000">
              <a:off x="6738197" y="3394313"/>
              <a:ext cx="1174681" cy="338342"/>
            </a:xfrm>
            <a:prstGeom prst="homePlate">
              <a:avLst/>
            </a:prstGeom>
            <a:solidFill>
              <a:srgbClr val="326E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1472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>
            <a:extLst>
              <a:ext uri="{FF2B5EF4-FFF2-40B4-BE49-F238E27FC236}">
                <a16:creationId xmlns:a16="http://schemas.microsoft.com/office/drawing/2014/main" id="{F2E89817-6697-4EA4-8649-9AB96DFEA9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1166020"/>
            <a:ext cx="9194312" cy="5246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="1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Hier folgt ein Aufzählung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24785CD-EEFC-463A-BB0E-0EF76412D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636ABD93-CBAD-41E3-A1D0-7E98149B36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163" y="6489702"/>
            <a:ext cx="360363" cy="368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6FAFAE-B3D1-47A6-B933-CD41C99AEDE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49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rafik 46">
            <a:extLst>
              <a:ext uri="{FF2B5EF4-FFF2-40B4-BE49-F238E27FC236}">
                <a16:creationId xmlns:a16="http://schemas.microsoft.com/office/drawing/2014/main" id="{701B1F34-DC43-46D3-BFDD-871390D62F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45" b="784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Rechteck 22"/>
          <p:cNvSpPr/>
          <p:nvPr userDrawn="1"/>
        </p:nvSpPr>
        <p:spPr>
          <a:xfrm>
            <a:off x="19090" y="0"/>
            <a:ext cx="12192000" cy="6858000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975D307-C802-4070-869E-C140D8B6A425}"/>
              </a:ext>
            </a:extLst>
          </p:cNvPr>
          <p:cNvGrpSpPr/>
          <p:nvPr userDrawn="1"/>
        </p:nvGrpSpPr>
        <p:grpSpPr>
          <a:xfrm>
            <a:off x="5072083" y="1554745"/>
            <a:ext cx="2324166" cy="1374950"/>
            <a:chOff x="4785787" y="2657849"/>
            <a:chExt cx="1587357" cy="939062"/>
          </a:xfrm>
          <a:solidFill>
            <a:schemeClr val="bg1"/>
          </a:solidFill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33B56F59-7B4F-4A0A-B97D-251E8A36DFF3}"/>
                </a:ext>
              </a:extLst>
            </p:cNvPr>
            <p:cNvSpPr/>
            <p:nvPr/>
          </p:nvSpPr>
          <p:spPr>
            <a:xfrm>
              <a:off x="5067787" y="2657849"/>
              <a:ext cx="817800" cy="733200"/>
            </a:xfrm>
            <a:custGeom>
              <a:avLst/>
              <a:gdLst>
                <a:gd name="connsiteX0" fmla="*/ 100489 w 276225"/>
                <a:gd name="connsiteY0" fmla="*/ 167164 h 247650"/>
                <a:gd name="connsiteX1" fmla="*/ 140494 w 276225"/>
                <a:gd name="connsiteY1" fmla="*/ 86201 h 247650"/>
                <a:gd name="connsiteX2" fmla="*/ 178594 w 276225"/>
                <a:gd name="connsiteY2" fmla="*/ 167164 h 247650"/>
                <a:gd name="connsiteX3" fmla="*/ 100489 w 276225"/>
                <a:gd name="connsiteY3" fmla="*/ 167164 h 247650"/>
                <a:gd name="connsiteX4" fmla="*/ 273844 w 276225"/>
                <a:gd name="connsiteY4" fmla="*/ 242411 h 247650"/>
                <a:gd name="connsiteX5" fmla="*/ 272891 w 276225"/>
                <a:gd name="connsiteY5" fmla="*/ 239554 h 247650"/>
                <a:gd name="connsiteX6" fmla="*/ 229076 w 276225"/>
                <a:gd name="connsiteY6" fmla="*/ 150019 h 247650"/>
                <a:gd name="connsiteX7" fmla="*/ 170974 w 276225"/>
                <a:gd name="connsiteY7" fmla="*/ 30004 h 247650"/>
                <a:gd name="connsiteX8" fmla="*/ 159544 w 276225"/>
                <a:gd name="connsiteY8" fmla="*/ 7144 h 247650"/>
                <a:gd name="connsiteX9" fmla="*/ 124301 w 276225"/>
                <a:gd name="connsiteY9" fmla="*/ 7144 h 247650"/>
                <a:gd name="connsiteX10" fmla="*/ 123349 w 276225"/>
                <a:gd name="connsiteY10" fmla="*/ 9049 h 247650"/>
                <a:gd name="connsiteX11" fmla="*/ 57626 w 276225"/>
                <a:gd name="connsiteY11" fmla="*/ 140494 h 247650"/>
                <a:gd name="connsiteX12" fmla="*/ 8096 w 276225"/>
                <a:gd name="connsiteY12" fmla="*/ 240506 h 247650"/>
                <a:gd name="connsiteX13" fmla="*/ 7144 w 276225"/>
                <a:gd name="connsiteY13" fmla="*/ 243364 h 247650"/>
                <a:gd name="connsiteX14" fmla="*/ 8096 w 276225"/>
                <a:gd name="connsiteY14" fmla="*/ 243364 h 247650"/>
                <a:gd name="connsiteX15" fmla="*/ 63341 w 276225"/>
                <a:gd name="connsiteY15" fmla="*/ 243364 h 247650"/>
                <a:gd name="connsiteX16" fmla="*/ 65246 w 276225"/>
                <a:gd name="connsiteY16" fmla="*/ 241459 h 247650"/>
                <a:gd name="connsiteX17" fmla="*/ 75724 w 276225"/>
                <a:gd name="connsiteY17" fmla="*/ 221456 h 247650"/>
                <a:gd name="connsiteX18" fmla="*/ 78581 w 276225"/>
                <a:gd name="connsiteY18" fmla="*/ 219551 h 247650"/>
                <a:gd name="connsiteX19" fmla="*/ 203359 w 276225"/>
                <a:gd name="connsiteY19" fmla="*/ 219551 h 247650"/>
                <a:gd name="connsiteX20" fmla="*/ 206216 w 276225"/>
                <a:gd name="connsiteY20" fmla="*/ 221456 h 247650"/>
                <a:gd name="connsiteX21" fmla="*/ 215741 w 276225"/>
                <a:gd name="connsiteY21" fmla="*/ 241459 h 247650"/>
                <a:gd name="connsiteX22" fmla="*/ 218599 w 276225"/>
                <a:gd name="connsiteY22" fmla="*/ 243364 h 247650"/>
                <a:gd name="connsiteX23" fmla="*/ 272891 w 276225"/>
                <a:gd name="connsiteY23" fmla="*/ 243364 h 247650"/>
                <a:gd name="connsiteX24" fmla="*/ 273844 w 276225"/>
                <a:gd name="connsiteY24" fmla="*/ 242411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6225" h="247650">
                  <a:moveTo>
                    <a:pt x="100489" y="167164"/>
                  </a:moveTo>
                  <a:cubicBezTo>
                    <a:pt x="113824" y="140494"/>
                    <a:pt x="127159" y="113824"/>
                    <a:pt x="140494" y="86201"/>
                  </a:cubicBezTo>
                  <a:cubicBezTo>
                    <a:pt x="153829" y="112871"/>
                    <a:pt x="166211" y="139541"/>
                    <a:pt x="178594" y="167164"/>
                  </a:cubicBezTo>
                  <a:lnTo>
                    <a:pt x="100489" y="167164"/>
                  </a:lnTo>
                  <a:close/>
                  <a:moveTo>
                    <a:pt x="273844" y="242411"/>
                  </a:moveTo>
                  <a:cubicBezTo>
                    <a:pt x="272891" y="241459"/>
                    <a:pt x="272891" y="240506"/>
                    <a:pt x="272891" y="239554"/>
                  </a:cubicBezTo>
                  <a:cubicBezTo>
                    <a:pt x="258604" y="210026"/>
                    <a:pt x="244316" y="179546"/>
                    <a:pt x="229076" y="150019"/>
                  </a:cubicBezTo>
                  <a:cubicBezTo>
                    <a:pt x="210026" y="110014"/>
                    <a:pt x="190024" y="70009"/>
                    <a:pt x="170974" y="30004"/>
                  </a:cubicBezTo>
                  <a:cubicBezTo>
                    <a:pt x="167164" y="22384"/>
                    <a:pt x="163354" y="14764"/>
                    <a:pt x="159544" y="7144"/>
                  </a:cubicBezTo>
                  <a:lnTo>
                    <a:pt x="124301" y="7144"/>
                  </a:lnTo>
                  <a:cubicBezTo>
                    <a:pt x="124301" y="8096"/>
                    <a:pt x="123349" y="9049"/>
                    <a:pt x="123349" y="9049"/>
                  </a:cubicBezTo>
                  <a:cubicBezTo>
                    <a:pt x="101441" y="52864"/>
                    <a:pt x="79534" y="96679"/>
                    <a:pt x="57626" y="140494"/>
                  </a:cubicBezTo>
                  <a:cubicBezTo>
                    <a:pt x="41434" y="173831"/>
                    <a:pt x="24289" y="207169"/>
                    <a:pt x="8096" y="240506"/>
                  </a:cubicBezTo>
                  <a:cubicBezTo>
                    <a:pt x="8096" y="241459"/>
                    <a:pt x="7144" y="242411"/>
                    <a:pt x="7144" y="243364"/>
                  </a:cubicBezTo>
                  <a:cubicBezTo>
                    <a:pt x="7144" y="243364"/>
                    <a:pt x="8096" y="243364"/>
                    <a:pt x="8096" y="243364"/>
                  </a:cubicBezTo>
                  <a:cubicBezTo>
                    <a:pt x="26194" y="243364"/>
                    <a:pt x="45244" y="243364"/>
                    <a:pt x="63341" y="243364"/>
                  </a:cubicBezTo>
                  <a:cubicBezTo>
                    <a:pt x="64294" y="243364"/>
                    <a:pt x="65246" y="242411"/>
                    <a:pt x="65246" y="241459"/>
                  </a:cubicBezTo>
                  <a:cubicBezTo>
                    <a:pt x="69056" y="234791"/>
                    <a:pt x="71914" y="228124"/>
                    <a:pt x="75724" y="221456"/>
                  </a:cubicBezTo>
                  <a:cubicBezTo>
                    <a:pt x="76676" y="220504"/>
                    <a:pt x="76676" y="219551"/>
                    <a:pt x="78581" y="219551"/>
                  </a:cubicBezTo>
                  <a:cubicBezTo>
                    <a:pt x="120491" y="219551"/>
                    <a:pt x="161449" y="219551"/>
                    <a:pt x="203359" y="219551"/>
                  </a:cubicBezTo>
                  <a:cubicBezTo>
                    <a:pt x="204311" y="219551"/>
                    <a:pt x="205264" y="219551"/>
                    <a:pt x="206216" y="221456"/>
                  </a:cubicBezTo>
                  <a:cubicBezTo>
                    <a:pt x="209074" y="228124"/>
                    <a:pt x="212884" y="234791"/>
                    <a:pt x="215741" y="241459"/>
                  </a:cubicBezTo>
                  <a:cubicBezTo>
                    <a:pt x="216694" y="242411"/>
                    <a:pt x="217646" y="243364"/>
                    <a:pt x="218599" y="243364"/>
                  </a:cubicBezTo>
                  <a:cubicBezTo>
                    <a:pt x="236696" y="243364"/>
                    <a:pt x="254794" y="243364"/>
                    <a:pt x="272891" y="243364"/>
                  </a:cubicBezTo>
                  <a:cubicBezTo>
                    <a:pt x="271939" y="242411"/>
                    <a:pt x="272891" y="242411"/>
                    <a:pt x="273844" y="24241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F97DDC0-E70C-4A8F-8326-3B2D521E8926}"/>
                </a:ext>
              </a:extLst>
            </p:cNvPr>
            <p:cNvSpPr/>
            <p:nvPr/>
          </p:nvSpPr>
          <p:spPr>
            <a:xfrm>
              <a:off x="4788609" y="2657849"/>
              <a:ext cx="535800" cy="733200"/>
            </a:xfrm>
            <a:custGeom>
              <a:avLst/>
              <a:gdLst>
                <a:gd name="connsiteX0" fmla="*/ 180499 w 180975"/>
                <a:gd name="connsiteY0" fmla="*/ 7144 h 247650"/>
                <a:gd name="connsiteX1" fmla="*/ 124301 w 180975"/>
                <a:gd name="connsiteY1" fmla="*/ 7144 h 247650"/>
                <a:gd name="connsiteX2" fmla="*/ 107156 w 180975"/>
                <a:gd name="connsiteY2" fmla="*/ 40481 h 247650"/>
                <a:gd name="connsiteX3" fmla="*/ 61436 w 180975"/>
                <a:gd name="connsiteY3" fmla="*/ 131921 h 247650"/>
                <a:gd name="connsiteX4" fmla="*/ 60484 w 180975"/>
                <a:gd name="connsiteY4" fmla="*/ 133826 h 247650"/>
                <a:gd name="connsiteX5" fmla="*/ 59531 w 180975"/>
                <a:gd name="connsiteY5" fmla="*/ 133826 h 247650"/>
                <a:gd name="connsiteX6" fmla="*/ 59531 w 180975"/>
                <a:gd name="connsiteY6" fmla="*/ 123349 h 247650"/>
                <a:gd name="connsiteX7" fmla="*/ 58579 w 180975"/>
                <a:gd name="connsiteY7" fmla="*/ 63341 h 247650"/>
                <a:gd name="connsiteX8" fmla="*/ 57626 w 180975"/>
                <a:gd name="connsiteY8" fmla="*/ 10001 h 247650"/>
                <a:gd name="connsiteX9" fmla="*/ 57626 w 180975"/>
                <a:gd name="connsiteY9" fmla="*/ 7144 h 247650"/>
                <a:gd name="connsiteX10" fmla="*/ 7144 w 180975"/>
                <a:gd name="connsiteY10" fmla="*/ 7144 h 247650"/>
                <a:gd name="connsiteX11" fmla="*/ 7144 w 180975"/>
                <a:gd name="connsiteY11" fmla="*/ 9049 h 247650"/>
                <a:gd name="connsiteX12" fmla="*/ 7144 w 180975"/>
                <a:gd name="connsiteY12" fmla="*/ 240506 h 247650"/>
                <a:gd name="connsiteX13" fmla="*/ 7144 w 180975"/>
                <a:gd name="connsiteY13" fmla="*/ 242411 h 247650"/>
                <a:gd name="connsiteX14" fmla="*/ 8096 w 180975"/>
                <a:gd name="connsiteY14" fmla="*/ 242411 h 247650"/>
                <a:gd name="connsiteX15" fmla="*/ 62389 w 180975"/>
                <a:gd name="connsiteY15" fmla="*/ 242411 h 247650"/>
                <a:gd name="connsiteX16" fmla="*/ 64294 w 180975"/>
                <a:gd name="connsiteY16" fmla="*/ 240506 h 247650"/>
                <a:gd name="connsiteX17" fmla="*/ 111919 w 180975"/>
                <a:gd name="connsiteY17" fmla="*/ 144304 h 247650"/>
                <a:gd name="connsiteX18" fmla="*/ 180499 w 180975"/>
                <a:gd name="connsiteY18" fmla="*/ 714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0975" h="247650">
                  <a:moveTo>
                    <a:pt x="180499" y="7144"/>
                  </a:moveTo>
                  <a:lnTo>
                    <a:pt x="124301" y="7144"/>
                  </a:lnTo>
                  <a:cubicBezTo>
                    <a:pt x="118586" y="18574"/>
                    <a:pt x="112871" y="29051"/>
                    <a:pt x="107156" y="40481"/>
                  </a:cubicBezTo>
                  <a:cubicBezTo>
                    <a:pt x="91916" y="70961"/>
                    <a:pt x="76676" y="101441"/>
                    <a:pt x="61436" y="131921"/>
                  </a:cubicBezTo>
                  <a:cubicBezTo>
                    <a:pt x="61436" y="132874"/>
                    <a:pt x="60484" y="133826"/>
                    <a:pt x="60484" y="133826"/>
                  </a:cubicBezTo>
                  <a:cubicBezTo>
                    <a:pt x="60484" y="133826"/>
                    <a:pt x="59531" y="133826"/>
                    <a:pt x="59531" y="133826"/>
                  </a:cubicBezTo>
                  <a:cubicBezTo>
                    <a:pt x="59531" y="130016"/>
                    <a:pt x="59531" y="127159"/>
                    <a:pt x="59531" y="123349"/>
                  </a:cubicBezTo>
                  <a:cubicBezTo>
                    <a:pt x="59531" y="103346"/>
                    <a:pt x="58579" y="83344"/>
                    <a:pt x="58579" y="63341"/>
                  </a:cubicBezTo>
                  <a:cubicBezTo>
                    <a:pt x="58579" y="45244"/>
                    <a:pt x="57626" y="28099"/>
                    <a:pt x="57626" y="10001"/>
                  </a:cubicBezTo>
                  <a:cubicBezTo>
                    <a:pt x="57626" y="9049"/>
                    <a:pt x="57626" y="8096"/>
                    <a:pt x="57626" y="7144"/>
                  </a:cubicBezTo>
                  <a:lnTo>
                    <a:pt x="7144" y="7144"/>
                  </a:lnTo>
                  <a:cubicBezTo>
                    <a:pt x="7144" y="8096"/>
                    <a:pt x="7144" y="8096"/>
                    <a:pt x="7144" y="9049"/>
                  </a:cubicBezTo>
                  <a:cubicBezTo>
                    <a:pt x="7144" y="86201"/>
                    <a:pt x="7144" y="163354"/>
                    <a:pt x="7144" y="240506"/>
                  </a:cubicBezTo>
                  <a:cubicBezTo>
                    <a:pt x="7144" y="241459"/>
                    <a:pt x="7144" y="242411"/>
                    <a:pt x="7144" y="242411"/>
                  </a:cubicBezTo>
                  <a:cubicBezTo>
                    <a:pt x="7144" y="242411"/>
                    <a:pt x="7144" y="242411"/>
                    <a:pt x="8096" y="242411"/>
                  </a:cubicBezTo>
                  <a:cubicBezTo>
                    <a:pt x="26194" y="242411"/>
                    <a:pt x="44291" y="242411"/>
                    <a:pt x="62389" y="242411"/>
                  </a:cubicBezTo>
                  <a:cubicBezTo>
                    <a:pt x="63341" y="242411"/>
                    <a:pt x="64294" y="241459"/>
                    <a:pt x="64294" y="240506"/>
                  </a:cubicBezTo>
                  <a:cubicBezTo>
                    <a:pt x="80486" y="208121"/>
                    <a:pt x="96679" y="175736"/>
                    <a:pt x="111919" y="144304"/>
                  </a:cubicBezTo>
                  <a:cubicBezTo>
                    <a:pt x="135731" y="98584"/>
                    <a:pt x="157639" y="52864"/>
                    <a:pt x="180499" y="714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9B488CC-C310-4F50-8184-3EF9AA151FE8}"/>
                </a:ext>
              </a:extLst>
            </p:cNvPr>
            <p:cNvSpPr/>
            <p:nvPr/>
          </p:nvSpPr>
          <p:spPr>
            <a:xfrm>
              <a:off x="5697256" y="2657849"/>
              <a:ext cx="507600" cy="733200"/>
            </a:xfrm>
            <a:custGeom>
              <a:avLst/>
              <a:gdLst>
                <a:gd name="connsiteX0" fmla="*/ 90759 w 171450"/>
                <a:gd name="connsiteY0" fmla="*/ 224314 h 247650"/>
                <a:gd name="connsiteX1" fmla="*/ 105046 w 171450"/>
                <a:gd name="connsiteY1" fmla="*/ 238601 h 247650"/>
                <a:gd name="connsiteX2" fmla="*/ 125049 w 171450"/>
                <a:gd name="connsiteY2" fmla="*/ 242411 h 247650"/>
                <a:gd name="connsiteX3" fmla="*/ 166006 w 171450"/>
                <a:gd name="connsiteY3" fmla="*/ 242411 h 247650"/>
                <a:gd name="connsiteX4" fmla="*/ 167911 w 171450"/>
                <a:gd name="connsiteY4" fmla="*/ 242411 h 247650"/>
                <a:gd name="connsiteX5" fmla="*/ 167911 w 171450"/>
                <a:gd name="connsiteY5" fmla="*/ 190024 h 247650"/>
                <a:gd name="connsiteX6" fmla="*/ 166959 w 171450"/>
                <a:gd name="connsiteY6" fmla="*/ 190024 h 247650"/>
                <a:gd name="connsiteX7" fmla="*/ 145051 w 171450"/>
                <a:gd name="connsiteY7" fmla="*/ 190024 h 247650"/>
                <a:gd name="connsiteX8" fmla="*/ 129811 w 171450"/>
                <a:gd name="connsiteY8" fmla="*/ 180499 h 247650"/>
                <a:gd name="connsiteX9" fmla="*/ 78376 w 171450"/>
                <a:gd name="connsiteY9" fmla="*/ 72866 h 247650"/>
                <a:gd name="connsiteX10" fmla="*/ 75519 w 171450"/>
                <a:gd name="connsiteY10" fmla="*/ 66199 h 247650"/>
                <a:gd name="connsiteX11" fmla="*/ 79329 w 171450"/>
                <a:gd name="connsiteY11" fmla="*/ 59531 h 247650"/>
                <a:gd name="connsiteX12" fmla="*/ 86949 w 171450"/>
                <a:gd name="connsiteY12" fmla="*/ 58579 h 247650"/>
                <a:gd name="connsiteX13" fmla="*/ 165054 w 171450"/>
                <a:gd name="connsiteY13" fmla="*/ 58579 h 247650"/>
                <a:gd name="connsiteX14" fmla="*/ 167911 w 171450"/>
                <a:gd name="connsiteY14" fmla="*/ 58579 h 247650"/>
                <a:gd name="connsiteX15" fmla="*/ 167911 w 171450"/>
                <a:gd name="connsiteY15" fmla="*/ 7144 h 247650"/>
                <a:gd name="connsiteX16" fmla="*/ 38371 w 171450"/>
                <a:gd name="connsiteY16" fmla="*/ 7144 h 247650"/>
                <a:gd name="connsiteX17" fmla="*/ 31704 w 171450"/>
                <a:gd name="connsiteY17" fmla="*/ 8096 h 247650"/>
                <a:gd name="connsiteX18" fmla="*/ 7891 w 171450"/>
                <a:gd name="connsiteY18" fmla="*/ 30004 h 247650"/>
                <a:gd name="connsiteX19" fmla="*/ 11701 w 171450"/>
                <a:gd name="connsiteY19" fmla="*/ 56674 h 247650"/>
                <a:gd name="connsiteX20" fmla="*/ 90759 w 171450"/>
                <a:gd name="connsiteY20" fmla="*/ 22431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1450" h="247650">
                  <a:moveTo>
                    <a:pt x="90759" y="224314"/>
                  </a:moveTo>
                  <a:cubicBezTo>
                    <a:pt x="93616" y="230981"/>
                    <a:pt x="98379" y="235744"/>
                    <a:pt x="105046" y="238601"/>
                  </a:cubicBezTo>
                  <a:cubicBezTo>
                    <a:pt x="111714" y="241459"/>
                    <a:pt x="118381" y="242411"/>
                    <a:pt x="125049" y="242411"/>
                  </a:cubicBezTo>
                  <a:cubicBezTo>
                    <a:pt x="138384" y="242411"/>
                    <a:pt x="151719" y="242411"/>
                    <a:pt x="166006" y="242411"/>
                  </a:cubicBezTo>
                  <a:cubicBezTo>
                    <a:pt x="166959" y="242411"/>
                    <a:pt x="166959" y="242411"/>
                    <a:pt x="167911" y="242411"/>
                  </a:cubicBezTo>
                  <a:lnTo>
                    <a:pt x="167911" y="190024"/>
                  </a:lnTo>
                  <a:cubicBezTo>
                    <a:pt x="166959" y="190024"/>
                    <a:pt x="166959" y="190024"/>
                    <a:pt x="166959" y="190024"/>
                  </a:cubicBezTo>
                  <a:cubicBezTo>
                    <a:pt x="159339" y="190024"/>
                    <a:pt x="152671" y="190024"/>
                    <a:pt x="145051" y="190024"/>
                  </a:cubicBezTo>
                  <a:cubicBezTo>
                    <a:pt x="137431" y="190024"/>
                    <a:pt x="132669" y="187166"/>
                    <a:pt x="129811" y="180499"/>
                  </a:cubicBezTo>
                  <a:cubicBezTo>
                    <a:pt x="112666" y="144304"/>
                    <a:pt x="95521" y="109061"/>
                    <a:pt x="78376" y="72866"/>
                  </a:cubicBezTo>
                  <a:cubicBezTo>
                    <a:pt x="77424" y="70961"/>
                    <a:pt x="76471" y="69056"/>
                    <a:pt x="75519" y="66199"/>
                  </a:cubicBezTo>
                  <a:cubicBezTo>
                    <a:pt x="74566" y="63341"/>
                    <a:pt x="75519" y="60484"/>
                    <a:pt x="79329" y="59531"/>
                  </a:cubicBezTo>
                  <a:cubicBezTo>
                    <a:pt x="81234" y="58579"/>
                    <a:pt x="84091" y="58579"/>
                    <a:pt x="86949" y="58579"/>
                  </a:cubicBezTo>
                  <a:cubicBezTo>
                    <a:pt x="112666" y="58579"/>
                    <a:pt x="139336" y="58579"/>
                    <a:pt x="165054" y="58579"/>
                  </a:cubicBezTo>
                  <a:lnTo>
                    <a:pt x="167911" y="58579"/>
                  </a:lnTo>
                  <a:lnTo>
                    <a:pt x="167911" y="7144"/>
                  </a:lnTo>
                  <a:lnTo>
                    <a:pt x="38371" y="7144"/>
                  </a:lnTo>
                  <a:cubicBezTo>
                    <a:pt x="36466" y="7144"/>
                    <a:pt x="33609" y="8096"/>
                    <a:pt x="31704" y="8096"/>
                  </a:cubicBezTo>
                  <a:cubicBezTo>
                    <a:pt x="19321" y="10954"/>
                    <a:pt x="10749" y="17621"/>
                    <a:pt x="7891" y="30004"/>
                  </a:cubicBezTo>
                  <a:cubicBezTo>
                    <a:pt x="5986" y="39529"/>
                    <a:pt x="7891" y="48101"/>
                    <a:pt x="11701" y="56674"/>
                  </a:cubicBezTo>
                  <a:cubicBezTo>
                    <a:pt x="38371" y="112871"/>
                    <a:pt x="64089" y="168116"/>
                    <a:pt x="90759" y="22431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84A6A1B4-9D5B-4392-AA23-AC3F882C06D0}"/>
                </a:ext>
              </a:extLst>
            </p:cNvPr>
            <p:cNvSpPr/>
            <p:nvPr/>
          </p:nvSpPr>
          <p:spPr>
            <a:xfrm>
              <a:off x="5062147" y="3424889"/>
              <a:ext cx="84600" cy="169200"/>
            </a:xfrm>
            <a:custGeom>
              <a:avLst/>
              <a:gdLst>
                <a:gd name="connsiteX0" fmla="*/ 21431 w 28575"/>
                <a:gd name="connsiteY0" fmla="*/ 8096 h 57150"/>
                <a:gd name="connsiteX1" fmla="*/ 21431 w 28575"/>
                <a:gd name="connsiteY1" fmla="*/ 10954 h 57150"/>
                <a:gd name="connsiteX2" fmla="*/ 21431 w 28575"/>
                <a:gd name="connsiteY2" fmla="*/ 40481 h 57150"/>
                <a:gd name="connsiteX3" fmla="*/ 21431 w 28575"/>
                <a:gd name="connsiteY3" fmla="*/ 43339 h 57150"/>
                <a:gd name="connsiteX4" fmla="*/ 17621 w 28575"/>
                <a:gd name="connsiteY4" fmla="*/ 46196 h 57150"/>
                <a:gd name="connsiteX5" fmla="*/ 13811 w 28575"/>
                <a:gd name="connsiteY5" fmla="*/ 43339 h 57150"/>
                <a:gd name="connsiteX6" fmla="*/ 13811 w 28575"/>
                <a:gd name="connsiteY6" fmla="*/ 40481 h 57150"/>
                <a:gd name="connsiteX7" fmla="*/ 13811 w 28575"/>
                <a:gd name="connsiteY7" fmla="*/ 10001 h 57150"/>
                <a:gd name="connsiteX8" fmla="*/ 13811 w 28575"/>
                <a:gd name="connsiteY8" fmla="*/ 7144 h 57150"/>
                <a:gd name="connsiteX9" fmla="*/ 7144 w 28575"/>
                <a:gd name="connsiteY9" fmla="*/ 7144 h 57150"/>
                <a:gd name="connsiteX10" fmla="*/ 7144 w 28575"/>
                <a:gd name="connsiteY10" fmla="*/ 8096 h 57150"/>
                <a:gd name="connsiteX11" fmla="*/ 7144 w 28575"/>
                <a:gd name="connsiteY11" fmla="*/ 41434 h 57150"/>
                <a:gd name="connsiteX12" fmla="*/ 13811 w 28575"/>
                <a:gd name="connsiteY12" fmla="*/ 52864 h 57150"/>
                <a:gd name="connsiteX13" fmla="*/ 20479 w 28575"/>
                <a:gd name="connsiteY13" fmla="*/ 52864 h 57150"/>
                <a:gd name="connsiteX14" fmla="*/ 27146 w 28575"/>
                <a:gd name="connsiteY14" fmla="*/ 42386 h 57150"/>
                <a:gd name="connsiteX15" fmla="*/ 27146 w 28575"/>
                <a:gd name="connsiteY15" fmla="*/ 9049 h 57150"/>
                <a:gd name="connsiteX16" fmla="*/ 27146 w 28575"/>
                <a:gd name="connsiteY16" fmla="*/ 8096 h 57150"/>
                <a:gd name="connsiteX17" fmla="*/ 21431 w 28575"/>
                <a:gd name="connsiteY17" fmla="*/ 809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57150">
                  <a:moveTo>
                    <a:pt x="21431" y="8096"/>
                  </a:moveTo>
                  <a:lnTo>
                    <a:pt x="21431" y="10954"/>
                  </a:lnTo>
                  <a:cubicBezTo>
                    <a:pt x="21431" y="20479"/>
                    <a:pt x="21431" y="30956"/>
                    <a:pt x="21431" y="40481"/>
                  </a:cubicBezTo>
                  <a:cubicBezTo>
                    <a:pt x="21431" y="41434"/>
                    <a:pt x="21431" y="42386"/>
                    <a:pt x="21431" y="43339"/>
                  </a:cubicBezTo>
                  <a:cubicBezTo>
                    <a:pt x="21431" y="45244"/>
                    <a:pt x="19526" y="46196"/>
                    <a:pt x="17621" y="46196"/>
                  </a:cubicBezTo>
                  <a:cubicBezTo>
                    <a:pt x="15716" y="46196"/>
                    <a:pt x="13811" y="45244"/>
                    <a:pt x="13811" y="43339"/>
                  </a:cubicBezTo>
                  <a:cubicBezTo>
                    <a:pt x="13811" y="42386"/>
                    <a:pt x="13811" y="41434"/>
                    <a:pt x="13811" y="40481"/>
                  </a:cubicBezTo>
                  <a:cubicBezTo>
                    <a:pt x="13811" y="30004"/>
                    <a:pt x="13811" y="19526"/>
                    <a:pt x="13811" y="10001"/>
                  </a:cubicBezTo>
                  <a:cubicBezTo>
                    <a:pt x="13811" y="9049"/>
                    <a:pt x="13811" y="8096"/>
                    <a:pt x="13811" y="7144"/>
                  </a:cubicBezTo>
                  <a:lnTo>
                    <a:pt x="7144" y="7144"/>
                  </a:lnTo>
                  <a:cubicBezTo>
                    <a:pt x="7144" y="7144"/>
                    <a:pt x="7144" y="7144"/>
                    <a:pt x="7144" y="8096"/>
                  </a:cubicBezTo>
                  <a:cubicBezTo>
                    <a:pt x="7144" y="19526"/>
                    <a:pt x="7144" y="30004"/>
                    <a:pt x="7144" y="41434"/>
                  </a:cubicBezTo>
                  <a:cubicBezTo>
                    <a:pt x="7144" y="46196"/>
                    <a:pt x="8096" y="50959"/>
                    <a:pt x="13811" y="52864"/>
                  </a:cubicBezTo>
                  <a:lnTo>
                    <a:pt x="20479" y="52864"/>
                  </a:lnTo>
                  <a:cubicBezTo>
                    <a:pt x="25241" y="50959"/>
                    <a:pt x="27146" y="47149"/>
                    <a:pt x="27146" y="42386"/>
                  </a:cubicBezTo>
                  <a:cubicBezTo>
                    <a:pt x="27146" y="30956"/>
                    <a:pt x="27146" y="20479"/>
                    <a:pt x="27146" y="9049"/>
                  </a:cubicBezTo>
                  <a:cubicBezTo>
                    <a:pt x="27146" y="9049"/>
                    <a:pt x="27146" y="8096"/>
                    <a:pt x="27146" y="8096"/>
                  </a:cubicBezTo>
                  <a:lnTo>
                    <a:pt x="21431" y="80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E9FA02F2-101B-4069-B351-091F437A418A}"/>
                </a:ext>
              </a:extLst>
            </p:cNvPr>
            <p:cNvSpPr/>
            <p:nvPr/>
          </p:nvSpPr>
          <p:spPr>
            <a:xfrm>
              <a:off x="5172129" y="3424889"/>
              <a:ext cx="84600" cy="169200"/>
            </a:xfrm>
            <a:custGeom>
              <a:avLst/>
              <a:gdLst>
                <a:gd name="connsiteX0" fmla="*/ 26194 w 28575"/>
                <a:gd name="connsiteY0" fmla="*/ 8096 h 57150"/>
                <a:gd name="connsiteX1" fmla="*/ 20479 w 28575"/>
                <a:gd name="connsiteY1" fmla="*/ 8096 h 57150"/>
                <a:gd name="connsiteX2" fmla="*/ 20479 w 28575"/>
                <a:gd name="connsiteY2" fmla="*/ 10954 h 57150"/>
                <a:gd name="connsiteX3" fmla="*/ 20479 w 28575"/>
                <a:gd name="connsiteY3" fmla="*/ 40481 h 57150"/>
                <a:gd name="connsiteX4" fmla="*/ 20479 w 28575"/>
                <a:gd name="connsiteY4" fmla="*/ 43339 h 57150"/>
                <a:gd name="connsiteX5" fmla="*/ 16669 w 28575"/>
                <a:gd name="connsiteY5" fmla="*/ 46196 h 57150"/>
                <a:gd name="connsiteX6" fmla="*/ 12859 w 28575"/>
                <a:gd name="connsiteY6" fmla="*/ 43339 h 57150"/>
                <a:gd name="connsiteX7" fmla="*/ 12859 w 28575"/>
                <a:gd name="connsiteY7" fmla="*/ 39529 h 57150"/>
                <a:gd name="connsiteX8" fmla="*/ 12859 w 28575"/>
                <a:gd name="connsiteY8" fmla="*/ 10001 h 57150"/>
                <a:gd name="connsiteX9" fmla="*/ 12859 w 28575"/>
                <a:gd name="connsiteY9" fmla="*/ 7144 h 57150"/>
                <a:gd name="connsiteX10" fmla="*/ 7144 w 28575"/>
                <a:gd name="connsiteY10" fmla="*/ 7144 h 57150"/>
                <a:gd name="connsiteX11" fmla="*/ 7144 w 28575"/>
                <a:gd name="connsiteY11" fmla="*/ 8096 h 57150"/>
                <a:gd name="connsiteX12" fmla="*/ 7144 w 28575"/>
                <a:gd name="connsiteY12" fmla="*/ 40481 h 57150"/>
                <a:gd name="connsiteX13" fmla="*/ 13811 w 28575"/>
                <a:gd name="connsiteY13" fmla="*/ 50959 h 57150"/>
                <a:gd name="connsiteX14" fmla="*/ 19526 w 28575"/>
                <a:gd name="connsiteY14" fmla="*/ 50959 h 57150"/>
                <a:gd name="connsiteX15" fmla="*/ 27146 w 28575"/>
                <a:gd name="connsiteY15" fmla="*/ 40481 h 57150"/>
                <a:gd name="connsiteX16" fmla="*/ 26194 w 28575"/>
                <a:gd name="connsiteY16" fmla="*/ 8096 h 57150"/>
                <a:gd name="connsiteX17" fmla="*/ 26194 w 28575"/>
                <a:gd name="connsiteY17" fmla="*/ 809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57150">
                  <a:moveTo>
                    <a:pt x="26194" y="8096"/>
                  </a:moveTo>
                  <a:lnTo>
                    <a:pt x="20479" y="8096"/>
                  </a:lnTo>
                  <a:lnTo>
                    <a:pt x="20479" y="10954"/>
                  </a:lnTo>
                  <a:cubicBezTo>
                    <a:pt x="20479" y="20479"/>
                    <a:pt x="20479" y="30956"/>
                    <a:pt x="20479" y="40481"/>
                  </a:cubicBezTo>
                  <a:cubicBezTo>
                    <a:pt x="20479" y="41434"/>
                    <a:pt x="20479" y="42386"/>
                    <a:pt x="20479" y="43339"/>
                  </a:cubicBezTo>
                  <a:cubicBezTo>
                    <a:pt x="20479" y="45244"/>
                    <a:pt x="18574" y="46196"/>
                    <a:pt x="16669" y="46196"/>
                  </a:cubicBezTo>
                  <a:cubicBezTo>
                    <a:pt x="14764" y="46196"/>
                    <a:pt x="12859" y="45244"/>
                    <a:pt x="12859" y="43339"/>
                  </a:cubicBezTo>
                  <a:cubicBezTo>
                    <a:pt x="12859" y="42386"/>
                    <a:pt x="12859" y="41434"/>
                    <a:pt x="12859" y="39529"/>
                  </a:cubicBezTo>
                  <a:cubicBezTo>
                    <a:pt x="12859" y="30004"/>
                    <a:pt x="12859" y="19526"/>
                    <a:pt x="12859" y="10001"/>
                  </a:cubicBezTo>
                  <a:cubicBezTo>
                    <a:pt x="12859" y="9049"/>
                    <a:pt x="12859" y="8096"/>
                    <a:pt x="12859" y="7144"/>
                  </a:cubicBezTo>
                  <a:lnTo>
                    <a:pt x="7144" y="7144"/>
                  </a:lnTo>
                  <a:cubicBezTo>
                    <a:pt x="7144" y="7144"/>
                    <a:pt x="7144" y="8096"/>
                    <a:pt x="7144" y="8096"/>
                  </a:cubicBezTo>
                  <a:cubicBezTo>
                    <a:pt x="7144" y="18574"/>
                    <a:pt x="7144" y="30004"/>
                    <a:pt x="7144" y="40481"/>
                  </a:cubicBezTo>
                  <a:cubicBezTo>
                    <a:pt x="7144" y="45244"/>
                    <a:pt x="9049" y="50006"/>
                    <a:pt x="13811" y="50959"/>
                  </a:cubicBezTo>
                  <a:lnTo>
                    <a:pt x="19526" y="50959"/>
                  </a:lnTo>
                  <a:cubicBezTo>
                    <a:pt x="25241" y="50006"/>
                    <a:pt x="27146" y="45244"/>
                    <a:pt x="27146" y="40481"/>
                  </a:cubicBezTo>
                  <a:cubicBezTo>
                    <a:pt x="26194" y="30956"/>
                    <a:pt x="26194" y="19526"/>
                    <a:pt x="26194" y="8096"/>
                  </a:cubicBezTo>
                  <a:cubicBezTo>
                    <a:pt x="26194" y="8096"/>
                    <a:pt x="26194" y="8096"/>
                    <a:pt x="26194" y="809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3F867A8-71C3-4AB0-BF38-6D67D208A446}"/>
                </a:ext>
              </a:extLst>
            </p:cNvPr>
            <p:cNvSpPr/>
            <p:nvPr/>
          </p:nvSpPr>
          <p:spPr>
            <a:xfrm>
              <a:off x="6203944" y="2660434"/>
              <a:ext cx="169200" cy="169200"/>
            </a:xfrm>
            <a:custGeom>
              <a:avLst/>
              <a:gdLst>
                <a:gd name="connsiteX0" fmla="*/ 31059 w 57150"/>
                <a:gd name="connsiteY0" fmla="*/ 51991 h 57150"/>
                <a:gd name="connsiteX1" fmla="*/ 10104 w 57150"/>
                <a:gd name="connsiteY1" fmla="*/ 31036 h 57150"/>
                <a:gd name="connsiteX2" fmla="*/ 31059 w 57150"/>
                <a:gd name="connsiteY2" fmla="*/ 10081 h 57150"/>
                <a:gd name="connsiteX3" fmla="*/ 52014 w 57150"/>
                <a:gd name="connsiteY3" fmla="*/ 31036 h 57150"/>
                <a:gd name="connsiteX4" fmla="*/ 31059 w 57150"/>
                <a:gd name="connsiteY4" fmla="*/ 51991 h 57150"/>
                <a:gd name="connsiteX5" fmla="*/ 55824 w 57150"/>
                <a:gd name="connsiteY5" fmla="*/ 26274 h 57150"/>
                <a:gd name="connsiteX6" fmla="*/ 29154 w 57150"/>
                <a:gd name="connsiteY6" fmla="*/ 7224 h 57150"/>
                <a:gd name="connsiteX7" fmla="*/ 7247 w 57150"/>
                <a:gd name="connsiteY7" fmla="*/ 29131 h 57150"/>
                <a:gd name="connsiteX8" fmla="*/ 21534 w 57150"/>
                <a:gd name="connsiteY8" fmla="*/ 53896 h 57150"/>
                <a:gd name="connsiteX9" fmla="*/ 49157 w 57150"/>
                <a:gd name="connsiteY9" fmla="*/ 48181 h 57150"/>
                <a:gd name="connsiteX10" fmla="*/ 55824 w 57150"/>
                <a:gd name="connsiteY10" fmla="*/ 35799 h 57150"/>
                <a:gd name="connsiteX11" fmla="*/ 55824 w 57150"/>
                <a:gd name="connsiteY11" fmla="*/ 26274 h 57150"/>
                <a:gd name="connsiteX12" fmla="*/ 55824 w 57150"/>
                <a:gd name="connsiteY12" fmla="*/ 2627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57150">
                  <a:moveTo>
                    <a:pt x="31059" y="51991"/>
                  </a:moveTo>
                  <a:cubicBezTo>
                    <a:pt x="19629" y="51991"/>
                    <a:pt x="10104" y="42466"/>
                    <a:pt x="10104" y="31036"/>
                  </a:cubicBezTo>
                  <a:cubicBezTo>
                    <a:pt x="10104" y="19606"/>
                    <a:pt x="19629" y="10081"/>
                    <a:pt x="31059" y="10081"/>
                  </a:cubicBezTo>
                  <a:cubicBezTo>
                    <a:pt x="42489" y="10081"/>
                    <a:pt x="52014" y="19606"/>
                    <a:pt x="52014" y="31036"/>
                  </a:cubicBezTo>
                  <a:cubicBezTo>
                    <a:pt x="52014" y="42466"/>
                    <a:pt x="43442" y="51991"/>
                    <a:pt x="31059" y="51991"/>
                  </a:cubicBezTo>
                  <a:moveTo>
                    <a:pt x="55824" y="26274"/>
                  </a:moveTo>
                  <a:cubicBezTo>
                    <a:pt x="52967" y="13891"/>
                    <a:pt x="42489" y="6271"/>
                    <a:pt x="29154" y="7224"/>
                  </a:cubicBezTo>
                  <a:cubicBezTo>
                    <a:pt x="17724" y="8176"/>
                    <a:pt x="8199" y="17701"/>
                    <a:pt x="7247" y="29131"/>
                  </a:cubicBezTo>
                  <a:cubicBezTo>
                    <a:pt x="6294" y="39609"/>
                    <a:pt x="12009" y="49134"/>
                    <a:pt x="21534" y="53896"/>
                  </a:cubicBezTo>
                  <a:cubicBezTo>
                    <a:pt x="31059" y="57706"/>
                    <a:pt x="42489" y="55801"/>
                    <a:pt x="49157" y="48181"/>
                  </a:cubicBezTo>
                  <a:cubicBezTo>
                    <a:pt x="52014" y="44371"/>
                    <a:pt x="53919" y="40561"/>
                    <a:pt x="55824" y="35799"/>
                  </a:cubicBezTo>
                  <a:lnTo>
                    <a:pt x="55824" y="26274"/>
                  </a:lnTo>
                  <a:cubicBezTo>
                    <a:pt x="55824" y="27226"/>
                    <a:pt x="55824" y="27226"/>
                    <a:pt x="55824" y="2627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6AC157A-5C62-457B-BFB2-38D9727A1393}"/>
                </a:ext>
              </a:extLst>
            </p:cNvPr>
            <p:cNvSpPr/>
            <p:nvPr/>
          </p:nvSpPr>
          <p:spPr>
            <a:xfrm>
              <a:off x="4785787" y="3424889"/>
              <a:ext cx="84600" cy="169200"/>
            </a:xfrm>
            <a:custGeom>
              <a:avLst/>
              <a:gdLst>
                <a:gd name="connsiteX0" fmla="*/ 18574 w 28575"/>
                <a:gd name="connsiteY0" fmla="*/ 39529 h 57150"/>
                <a:gd name="connsiteX1" fmla="*/ 18574 w 28575"/>
                <a:gd name="connsiteY1" fmla="*/ 39529 h 57150"/>
                <a:gd name="connsiteX2" fmla="*/ 12859 w 28575"/>
                <a:gd name="connsiteY2" fmla="*/ 8096 h 57150"/>
                <a:gd name="connsiteX3" fmla="*/ 7144 w 28575"/>
                <a:gd name="connsiteY3" fmla="*/ 8096 h 57150"/>
                <a:gd name="connsiteX4" fmla="*/ 7144 w 28575"/>
                <a:gd name="connsiteY4" fmla="*/ 10001 h 57150"/>
                <a:gd name="connsiteX5" fmla="*/ 8096 w 28575"/>
                <a:gd name="connsiteY5" fmla="*/ 10954 h 57150"/>
                <a:gd name="connsiteX6" fmla="*/ 15716 w 28575"/>
                <a:gd name="connsiteY6" fmla="*/ 50006 h 57150"/>
                <a:gd name="connsiteX7" fmla="*/ 18574 w 28575"/>
                <a:gd name="connsiteY7" fmla="*/ 51911 h 57150"/>
                <a:gd name="connsiteX8" fmla="*/ 21431 w 28575"/>
                <a:gd name="connsiteY8" fmla="*/ 50006 h 57150"/>
                <a:gd name="connsiteX9" fmla="*/ 28099 w 28575"/>
                <a:gd name="connsiteY9" fmla="*/ 15716 h 57150"/>
                <a:gd name="connsiteX10" fmla="*/ 30004 w 28575"/>
                <a:gd name="connsiteY10" fmla="*/ 7144 h 57150"/>
                <a:gd name="connsiteX11" fmla="*/ 23336 w 28575"/>
                <a:gd name="connsiteY11" fmla="*/ 7144 h 57150"/>
                <a:gd name="connsiteX12" fmla="*/ 18574 w 28575"/>
                <a:gd name="connsiteY12" fmla="*/ 3952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575" h="57150">
                  <a:moveTo>
                    <a:pt x="18574" y="39529"/>
                  </a:moveTo>
                  <a:cubicBezTo>
                    <a:pt x="18574" y="39529"/>
                    <a:pt x="17621" y="39529"/>
                    <a:pt x="18574" y="39529"/>
                  </a:cubicBezTo>
                  <a:cubicBezTo>
                    <a:pt x="16669" y="29051"/>
                    <a:pt x="14764" y="18574"/>
                    <a:pt x="12859" y="8096"/>
                  </a:cubicBezTo>
                  <a:lnTo>
                    <a:pt x="7144" y="8096"/>
                  </a:lnTo>
                  <a:lnTo>
                    <a:pt x="7144" y="10001"/>
                  </a:lnTo>
                  <a:cubicBezTo>
                    <a:pt x="7144" y="10001"/>
                    <a:pt x="7144" y="10954"/>
                    <a:pt x="8096" y="10954"/>
                  </a:cubicBezTo>
                  <a:cubicBezTo>
                    <a:pt x="10954" y="24289"/>
                    <a:pt x="12859" y="37624"/>
                    <a:pt x="15716" y="50006"/>
                  </a:cubicBezTo>
                  <a:cubicBezTo>
                    <a:pt x="15716" y="51911"/>
                    <a:pt x="16669" y="51911"/>
                    <a:pt x="18574" y="51911"/>
                  </a:cubicBezTo>
                  <a:cubicBezTo>
                    <a:pt x="19526" y="51911"/>
                    <a:pt x="21431" y="52864"/>
                    <a:pt x="21431" y="50006"/>
                  </a:cubicBezTo>
                  <a:cubicBezTo>
                    <a:pt x="23336" y="38576"/>
                    <a:pt x="26194" y="27146"/>
                    <a:pt x="28099" y="15716"/>
                  </a:cubicBezTo>
                  <a:cubicBezTo>
                    <a:pt x="29051" y="12859"/>
                    <a:pt x="29051" y="10001"/>
                    <a:pt x="30004" y="7144"/>
                  </a:cubicBezTo>
                  <a:lnTo>
                    <a:pt x="23336" y="7144"/>
                  </a:lnTo>
                  <a:cubicBezTo>
                    <a:pt x="21431" y="18574"/>
                    <a:pt x="20479" y="29051"/>
                    <a:pt x="18574" y="3952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4F598EAB-6618-4519-89F3-DC5501850C83}"/>
                </a:ext>
              </a:extLst>
            </p:cNvPr>
            <p:cNvSpPr/>
            <p:nvPr/>
          </p:nvSpPr>
          <p:spPr>
            <a:xfrm>
              <a:off x="5400547" y="3427210"/>
              <a:ext cx="84600" cy="169200"/>
            </a:xfrm>
            <a:custGeom>
              <a:avLst/>
              <a:gdLst>
                <a:gd name="connsiteX0" fmla="*/ 15716 w 28575"/>
                <a:gd name="connsiteY0" fmla="*/ 22552 h 57150"/>
                <a:gd name="connsiteX1" fmla="*/ 14764 w 28575"/>
                <a:gd name="connsiteY1" fmla="*/ 13980 h 57150"/>
                <a:gd name="connsiteX2" fmla="*/ 22384 w 28575"/>
                <a:gd name="connsiteY2" fmla="*/ 13027 h 57150"/>
                <a:gd name="connsiteX3" fmla="*/ 23336 w 28575"/>
                <a:gd name="connsiteY3" fmla="*/ 13980 h 57150"/>
                <a:gd name="connsiteX4" fmla="*/ 23336 w 28575"/>
                <a:gd name="connsiteY4" fmla="*/ 9217 h 57150"/>
                <a:gd name="connsiteX5" fmla="*/ 22384 w 28575"/>
                <a:gd name="connsiteY5" fmla="*/ 8265 h 57150"/>
                <a:gd name="connsiteX6" fmla="*/ 8096 w 28575"/>
                <a:gd name="connsiteY6" fmla="*/ 13980 h 57150"/>
                <a:gd name="connsiteX7" fmla="*/ 10954 w 28575"/>
                <a:gd name="connsiteY7" fmla="*/ 28267 h 57150"/>
                <a:gd name="connsiteX8" fmla="*/ 15716 w 28575"/>
                <a:gd name="connsiteY8" fmla="*/ 33030 h 57150"/>
                <a:gd name="connsiteX9" fmla="*/ 19526 w 28575"/>
                <a:gd name="connsiteY9" fmla="*/ 38745 h 57150"/>
                <a:gd name="connsiteX10" fmla="*/ 17621 w 28575"/>
                <a:gd name="connsiteY10" fmla="*/ 46365 h 57150"/>
                <a:gd name="connsiteX11" fmla="*/ 10001 w 28575"/>
                <a:gd name="connsiteY11" fmla="*/ 46365 h 57150"/>
                <a:gd name="connsiteX12" fmla="*/ 8096 w 28575"/>
                <a:gd name="connsiteY12" fmla="*/ 45412 h 57150"/>
                <a:gd name="connsiteX13" fmla="*/ 11906 w 28575"/>
                <a:gd name="connsiteY13" fmla="*/ 53032 h 57150"/>
                <a:gd name="connsiteX14" fmla="*/ 18574 w 28575"/>
                <a:gd name="connsiteY14" fmla="*/ 53032 h 57150"/>
                <a:gd name="connsiteX15" fmla="*/ 26194 w 28575"/>
                <a:gd name="connsiteY15" fmla="*/ 43507 h 57150"/>
                <a:gd name="connsiteX16" fmla="*/ 22384 w 28575"/>
                <a:gd name="connsiteY16" fmla="*/ 31125 h 57150"/>
                <a:gd name="connsiteX17" fmla="*/ 15716 w 28575"/>
                <a:gd name="connsiteY17" fmla="*/ 2255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57150">
                  <a:moveTo>
                    <a:pt x="15716" y="22552"/>
                  </a:moveTo>
                  <a:cubicBezTo>
                    <a:pt x="13811" y="19695"/>
                    <a:pt x="12859" y="15885"/>
                    <a:pt x="14764" y="13980"/>
                  </a:cubicBezTo>
                  <a:cubicBezTo>
                    <a:pt x="16669" y="12075"/>
                    <a:pt x="19526" y="11122"/>
                    <a:pt x="22384" y="13027"/>
                  </a:cubicBezTo>
                  <a:cubicBezTo>
                    <a:pt x="22384" y="13027"/>
                    <a:pt x="23336" y="13027"/>
                    <a:pt x="23336" y="13980"/>
                  </a:cubicBezTo>
                  <a:cubicBezTo>
                    <a:pt x="23336" y="12075"/>
                    <a:pt x="23336" y="10170"/>
                    <a:pt x="23336" y="9217"/>
                  </a:cubicBezTo>
                  <a:cubicBezTo>
                    <a:pt x="23336" y="9217"/>
                    <a:pt x="22384" y="8265"/>
                    <a:pt x="22384" y="8265"/>
                  </a:cubicBezTo>
                  <a:cubicBezTo>
                    <a:pt x="16669" y="5407"/>
                    <a:pt x="10001" y="8265"/>
                    <a:pt x="8096" y="13980"/>
                  </a:cubicBezTo>
                  <a:cubicBezTo>
                    <a:pt x="6191" y="18742"/>
                    <a:pt x="7144" y="23505"/>
                    <a:pt x="10954" y="28267"/>
                  </a:cubicBezTo>
                  <a:cubicBezTo>
                    <a:pt x="12859" y="30172"/>
                    <a:pt x="13811" y="31125"/>
                    <a:pt x="15716" y="33030"/>
                  </a:cubicBezTo>
                  <a:cubicBezTo>
                    <a:pt x="16669" y="34935"/>
                    <a:pt x="18574" y="36840"/>
                    <a:pt x="19526" y="38745"/>
                  </a:cubicBezTo>
                  <a:cubicBezTo>
                    <a:pt x="20479" y="41602"/>
                    <a:pt x="20479" y="44460"/>
                    <a:pt x="17621" y="46365"/>
                  </a:cubicBezTo>
                  <a:cubicBezTo>
                    <a:pt x="15716" y="48270"/>
                    <a:pt x="12859" y="47317"/>
                    <a:pt x="10001" y="46365"/>
                  </a:cubicBezTo>
                  <a:cubicBezTo>
                    <a:pt x="9049" y="46365"/>
                    <a:pt x="9049" y="45412"/>
                    <a:pt x="8096" y="45412"/>
                  </a:cubicBezTo>
                  <a:cubicBezTo>
                    <a:pt x="8096" y="51127"/>
                    <a:pt x="8096" y="51127"/>
                    <a:pt x="11906" y="53032"/>
                  </a:cubicBezTo>
                  <a:lnTo>
                    <a:pt x="18574" y="53032"/>
                  </a:lnTo>
                  <a:cubicBezTo>
                    <a:pt x="23336" y="51127"/>
                    <a:pt x="26194" y="48270"/>
                    <a:pt x="26194" y="43507"/>
                  </a:cubicBezTo>
                  <a:cubicBezTo>
                    <a:pt x="27146" y="38745"/>
                    <a:pt x="25241" y="34935"/>
                    <a:pt x="22384" y="31125"/>
                  </a:cubicBezTo>
                  <a:cubicBezTo>
                    <a:pt x="20479" y="27315"/>
                    <a:pt x="18574" y="24457"/>
                    <a:pt x="15716" y="22552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03CB9E43-E4A8-4A0D-8F58-9C401DBD8DE9}"/>
                </a:ext>
              </a:extLst>
            </p:cNvPr>
            <p:cNvSpPr/>
            <p:nvPr/>
          </p:nvSpPr>
          <p:spPr>
            <a:xfrm>
              <a:off x="4967235" y="3423906"/>
              <a:ext cx="84600" cy="169200"/>
            </a:xfrm>
            <a:custGeom>
              <a:avLst/>
              <a:gdLst>
                <a:gd name="connsiteX0" fmla="*/ 15389 w 28575"/>
                <a:gd name="connsiteY0" fmla="*/ 41766 h 57150"/>
                <a:gd name="connsiteX1" fmla="*/ 15389 w 28575"/>
                <a:gd name="connsiteY1" fmla="*/ 17953 h 57150"/>
                <a:gd name="connsiteX2" fmla="*/ 24914 w 28575"/>
                <a:gd name="connsiteY2" fmla="*/ 13191 h 57150"/>
                <a:gd name="connsiteX3" fmla="*/ 25867 w 28575"/>
                <a:gd name="connsiteY3" fmla="*/ 13191 h 57150"/>
                <a:gd name="connsiteX4" fmla="*/ 25867 w 28575"/>
                <a:gd name="connsiteY4" fmla="*/ 10333 h 57150"/>
                <a:gd name="connsiteX5" fmla="*/ 23962 w 28575"/>
                <a:gd name="connsiteY5" fmla="*/ 7476 h 57150"/>
                <a:gd name="connsiteX6" fmla="*/ 11579 w 28575"/>
                <a:gd name="connsiteY6" fmla="*/ 12238 h 57150"/>
                <a:gd name="connsiteX7" fmla="*/ 8722 w 28575"/>
                <a:gd name="connsiteY7" fmla="*/ 17953 h 57150"/>
                <a:gd name="connsiteX8" fmla="*/ 7769 w 28575"/>
                <a:gd name="connsiteY8" fmla="*/ 39861 h 57150"/>
                <a:gd name="connsiteX9" fmla="*/ 17294 w 28575"/>
                <a:gd name="connsiteY9" fmla="*/ 53196 h 57150"/>
                <a:gd name="connsiteX10" fmla="*/ 23009 w 28575"/>
                <a:gd name="connsiteY10" fmla="*/ 53196 h 57150"/>
                <a:gd name="connsiteX11" fmla="*/ 24914 w 28575"/>
                <a:gd name="connsiteY11" fmla="*/ 47481 h 57150"/>
                <a:gd name="connsiteX12" fmla="*/ 15389 w 28575"/>
                <a:gd name="connsiteY12" fmla="*/ 4176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575" h="57150">
                  <a:moveTo>
                    <a:pt x="15389" y="41766"/>
                  </a:moveTo>
                  <a:cubicBezTo>
                    <a:pt x="12532" y="34146"/>
                    <a:pt x="12532" y="25573"/>
                    <a:pt x="15389" y="17953"/>
                  </a:cubicBezTo>
                  <a:cubicBezTo>
                    <a:pt x="16342" y="13191"/>
                    <a:pt x="20152" y="11286"/>
                    <a:pt x="24914" y="13191"/>
                  </a:cubicBezTo>
                  <a:cubicBezTo>
                    <a:pt x="24914" y="13191"/>
                    <a:pt x="25867" y="13191"/>
                    <a:pt x="25867" y="13191"/>
                  </a:cubicBezTo>
                  <a:cubicBezTo>
                    <a:pt x="25867" y="12238"/>
                    <a:pt x="25867" y="11286"/>
                    <a:pt x="25867" y="10333"/>
                  </a:cubicBezTo>
                  <a:cubicBezTo>
                    <a:pt x="25867" y="8428"/>
                    <a:pt x="24914" y="8428"/>
                    <a:pt x="23962" y="7476"/>
                  </a:cubicBezTo>
                  <a:cubicBezTo>
                    <a:pt x="19199" y="6523"/>
                    <a:pt x="13484" y="7476"/>
                    <a:pt x="11579" y="12238"/>
                  </a:cubicBezTo>
                  <a:cubicBezTo>
                    <a:pt x="10627" y="14143"/>
                    <a:pt x="9674" y="16048"/>
                    <a:pt x="8722" y="17953"/>
                  </a:cubicBezTo>
                  <a:cubicBezTo>
                    <a:pt x="6817" y="25573"/>
                    <a:pt x="6817" y="32241"/>
                    <a:pt x="7769" y="39861"/>
                  </a:cubicBezTo>
                  <a:cubicBezTo>
                    <a:pt x="8722" y="45576"/>
                    <a:pt x="11579" y="50338"/>
                    <a:pt x="17294" y="53196"/>
                  </a:cubicBezTo>
                  <a:lnTo>
                    <a:pt x="23009" y="53196"/>
                  </a:lnTo>
                  <a:cubicBezTo>
                    <a:pt x="25867" y="52243"/>
                    <a:pt x="25867" y="51291"/>
                    <a:pt x="24914" y="47481"/>
                  </a:cubicBezTo>
                  <a:cubicBezTo>
                    <a:pt x="20152" y="47481"/>
                    <a:pt x="16342" y="46528"/>
                    <a:pt x="15389" y="4176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675E0916-E4E3-4907-86A7-C8E6A30BF52C}"/>
                </a:ext>
              </a:extLst>
            </p:cNvPr>
            <p:cNvSpPr/>
            <p:nvPr/>
          </p:nvSpPr>
          <p:spPr>
            <a:xfrm>
              <a:off x="5498139" y="3424889"/>
              <a:ext cx="84600" cy="169200"/>
            </a:xfrm>
            <a:custGeom>
              <a:avLst/>
              <a:gdLst>
                <a:gd name="connsiteX0" fmla="*/ 14186 w 28575"/>
                <a:gd name="connsiteY0" fmla="*/ 39529 h 57150"/>
                <a:gd name="connsiteX1" fmla="*/ 13234 w 28575"/>
                <a:gd name="connsiteY1" fmla="*/ 24289 h 57150"/>
                <a:gd name="connsiteX2" fmla="*/ 15139 w 28575"/>
                <a:gd name="connsiteY2" fmla="*/ 16669 h 57150"/>
                <a:gd name="connsiteX3" fmla="*/ 23711 w 28575"/>
                <a:gd name="connsiteY3" fmla="*/ 13811 h 57150"/>
                <a:gd name="connsiteX4" fmla="*/ 25616 w 28575"/>
                <a:gd name="connsiteY4" fmla="*/ 13811 h 57150"/>
                <a:gd name="connsiteX5" fmla="*/ 19901 w 28575"/>
                <a:gd name="connsiteY5" fmla="*/ 7144 h 57150"/>
                <a:gd name="connsiteX6" fmla="*/ 9424 w 28575"/>
                <a:gd name="connsiteY6" fmla="*/ 15716 h 57150"/>
                <a:gd name="connsiteX7" fmla="*/ 8471 w 28575"/>
                <a:gd name="connsiteY7" fmla="*/ 39529 h 57150"/>
                <a:gd name="connsiteX8" fmla="*/ 17996 w 28575"/>
                <a:gd name="connsiteY8" fmla="*/ 51911 h 57150"/>
                <a:gd name="connsiteX9" fmla="*/ 23711 w 28575"/>
                <a:gd name="connsiteY9" fmla="*/ 51911 h 57150"/>
                <a:gd name="connsiteX10" fmla="*/ 25616 w 28575"/>
                <a:gd name="connsiteY10" fmla="*/ 46196 h 57150"/>
                <a:gd name="connsiteX11" fmla="*/ 14186 w 28575"/>
                <a:gd name="connsiteY11" fmla="*/ 3952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14186" y="39529"/>
                  </a:moveTo>
                  <a:cubicBezTo>
                    <a:pt x="13234" y="34766"/>
                    <a:pt x="13234" y="30004"/>
                    <a:pt x="13234" y="24289"/>
                  </a:cubicBezTo>
                  <a:cubicBezTo>
                    <a:pt x="13234" y="21431"/>
                    <a:pt x="14186" y="18574"/>
                    <a:pt x="15139" y="16669"/>
                  </a:cubicBezTo>
                  <a:cubicBezTo>
                    <a:pt x="17044" y="12859"/>
                    <a:pt x="19901" y="11906"/>
                    <a:pt x="23711" y="13811"/>
                  </a:cubicBezTo>
                  <a:cubicBezTo>
                    <a:pt x="23711" y="13811"/>
                    <a:pt x="24664" y="13811"/>
                    <a:pt x="25616" y="13811"/>
                  </a:cubicBezTo>
                  <a:cubicBezTo>
                    <a:pt x="26569" y="8096"/>
                    <a:pt x="24664" y="7144"/>
                    <a:pt x="19901" y="7144"/>
                  </a:cubicBezTo>
                  <a:cubicBezTo>
                    <a:pt x="14186" y="7144"/>
                    <a:pt x="11329" y="10954"/>
                    <a:pt x="9424" y="15716"/>
                  </a:cubicBezTo>
                  <a:cubicBezTo>
                    <a:pt x="6566" y="23336"/>
                    <a:pt x="6566" y="31909"/>
                    <a:pt x="8471" y="39529"/>
                  </a:cubicBezTo>
                  <a:cubicBezTo>
                    <a:pt x="9424" y="45244"/>
                    <a:pt x="12281" y="50006"/>
                    <a:pt x="17996" y="51911"/>
                  </a:cubicBezTo>
                  <a:lnTo>
                    <a:pt x="23711" y="51911"/>
                  </a:lnTo>
                  <a:cubicBezTo>
                    <a:pt x="26569" y="50006"/>
                    <a:pt x="26569" y="50006"/>
                    <a:pt x="25616" y="46196"/>
                  </a:cubicBezTo>
                  <a:cubicBezTo>
                    <a:pt x="18949" y="47149"/>
                    <a:pt x="15139" y="45244"/>
                    <a:pt x="14186" y="3952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C03772DD-A35B-4FF7-8D9E-7BFF82CBCA88}"/>
                </a:ext>
              </a:extLst>
            </p:cNvPr>
            <p:cNvSpPr/>
            <p:nvPr/>
          </p:nvSpPr>
          <p:spPr>
            <a:xfrm>
              <a:off x="5702289" y="3423418"/>
              <a:ext cx="112800" cy="169200"/>
            </a:xfrm>
            <a:custGeom>
              <a:avLst/>
              <a:gdLst>
                <a:gd name="connsiteX0" fmla="*/ 28099 w 38100"/>
                <a:gd name="connsiteY0" fmla="*/ 7641 h 57150"/>
                <a:gd name="connsiteX1" fmla="*/ 22384 w 38100"/>
                <a:gd name="connsiteY1" fmla="*/ 38121 h 57150"/>
                <a:gd name="connsiteX2" fmla="*/ 21431 w 38100"/>
                <a:gd name="connsiteY2" fmla="*/ 36216 h 57150"/>
                <a:gd name="connsiteX3" fmla="*/ 16669 w 38100"/>
                <a:gd name="connsiteY3" fmla="*/ 11451 h 57150"/>
                <a:gd name="connsiteX4" fmla="*/ 10954 w 38100"/>
                <a:gd name="connsiteY4" fmla="*/ 7641 h 57150"/>
                <a:gd name="connsiteX5" fmla="*/ 10954 w 38100"/>
                <a:gd name="connsiteY5" fmla="*/ 7641 h 57150"/>
                <a:gd name="connsiteX6" fmla="*/ 7144 w 38100"/>
                <a:gd name="connsiteY6" fmla="*/ 51456 h 57150"/>
                <a:gd name="connsiteX7" fmla="*/ 12859 w 38100"/>
                <a:gd name="connsiteY7" fmla="*/ 51456 h 57150"/>
                <a:gd name="connsiteX8" fmla="*/ 14764 w 38100"/>
                <a:gd name="connsiteY8" fmla="*/ 22881 h 57150"/>
                <a:gd name="connsiteX9" fmla="*/ 14764 w 38100"/>
                <a:gd name="connsiteY9" fmla="*/ 22881 h 57150"/>
                <a:gd name="connsiteX10" fmla="*/ 20479 w 38100"/>
                <a:gd name="connsiteY10" fmla="*/ 51456 h 57150"/>
                <a:gd name="connsiteX11" fmla="*/ 24289 w 38100"/>
                <a:gd name="connsiteY11" fmla="*/ 51456 h 57150"/>
                <a:gd name="connsiteX12" fmla="*/ 30004 w 38100"/>
                <a:gd name="connsiteY12" fmla="*/ 23834 h 57150"/>
                <a:gd name="connsiteX13" fmla="*/ 30004 w 38100"/>
                <a:gd name="connsiteY13" fmla="*/ 23834 h 57150"/>
                <a:gd name="connsiteX14" fmla="*/ 30956 w 38100"/>
                <a:gd name="connsiteY14" fmla="*/ 51456 h 57150"/>
                <a:gd name="connsiteX15" fmla="*/ 36671 w 38100"/>
                <a:gd name="connsiteY15" fmla="*/ 51456 h 57150"/>
                <a:gd name="connsiteX16" fmla="*/ 32861 w 38100"/>
                <a:gd name="connsiteY16" fmla="*/ 7641 h 57150"/>
                <a:gd name="connsiteX17" fmla="*/ 28099 w 38100"/>
                <a:gd name="connsiteY17" fmla="*/ 7641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100" h="57150">
                  <a:moveTo>
                    <a:pt x="28099" y="7641"/>
                  </a:moveTo>
                  <a:cubicBezTo>
                    <a:pt x="26194" y="17166"/>
                    <a:pt x="24289" y="27644"/>
                    <a:pt x="22384" y="38121"/>
                  </a:cubicBezTo>
                  <a:cubicBezTo>
                    <a:pt x="22384" y="37169"/>
                    <a:pt x="22384" y="37169"/>
                    <a:pt x="21431" y="36216"/>
                  </a:cubicBezTo>
                  <a:cubicBezTo>
                    <a:pt x="19526" y="27644"/>
                    <a:pt x="18574" y="20024"/>
                    <a:pt x="16669" y="11451"/>
                  </a:cubicBezTo>
                  <a:cubicBezTo>
                    <a:pt x="15716" y="6689"/>
                    <a:pt x="15716" y="6689"/>
                    <a:pt x="10954" y="7641"/>
                  </a:cubicBezTo>
                  <a:cubicBezTo>
                    <a:pt x="10954" y="7641"/>
                    <a:pt x="10954" y="7641"/>
                    <a:pt x="10954" y="7641"/>
                  </a:cubicBezTo>
                  <a:cubicBezTo>
                    <a:pt x="10001" y="21929"/>
                    <a:pt x="8096" y="36216"/>
                    <a:pt x="7144" y="51456"/>
                  </a:cubicBezTo>
                  <a:lnTo>
                    <a:pt x="12859" y="51456"/>
                  </a:lnTo>
                  <a:cubicBezTo>
                    <a:pt x="13811" y="41931"/>
                    <a:pt x="13811" y="32406"/>
                    <a:pt x="14764" y="22881"/>
                  </a:cubicBezTo>
                  <a:cubicBezTo>
                    <a:pt x="14764" y="22881"/>
                    <a:pt x="14764" y="22881"/>
                    <a:pt x="14764" y="22881"/>
                  </a:cubicBezTo>
                  <a:cubicBezTo>
                    <a:pt x="16669" y="32406"/>
                    <a:pt x="18574" y="41931"/>
                    <a:pt x="20479" y="51456"/>
                  </a:cubicBezTo>
                  <a:lnTo>
                    <a:pt x="24289" y="51456"/>
                  </a:lnTo>
                  <a:cubicBezTo>
                    <a:pt x="26194" y="41931"/>
                    <a:pt x="28099" y="33359"/>
                    <a:pt x="30004" y="23834"/>
                  </a:cubicBezTo>
                  <a:cubicBezTo>
                    <a:pt x="30004" y="23834"/>
                    <a:pt x="30004" y="23834"/>
                    <a:pt x="30004" y="23834"/>
                  </a:cubicBezTo>
                  <a:cubicBezTo>
                    <a:pt x="30004" y="33359"/>
                    <a:pt x="30956" y="41931"/>
                    <a:pt x="30956" y="51456"/>
                  </a:cubicBezTo>
                  <a:lnTo>
                    <a:pt x="36671" y="51456"/>
                  </a:lnTo>
                  <a:cubicBezTo>
                    <a:pt x="35719" y="37169"/>
                    <a:pt x="33814" y="21929"/>
                    <a:pt x="32861" y="7641"/>
                  </a:cubicBezTo>
                  <a:lnTo>
                    <a:pt x="28099" y="76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5473FD-FF60-478C-A030-E7E30FA1AD2D}"/>
                </a:ext>
              </a:extLst>
            </p:cNvPr>
            <p:cNvSpPr/>
            <p:nvPr/>
          </p:nvSpPr>
          <p:spPr>
            <a:xfrm>
              <a:off x="5276467" y="3427711"/>
              <a:ext cx="112800" cy="169200"/>
            </a:xfrm>
            <a:custGeom>
              <a:avLst/>
              <a:gdLst>
                <a:gd name="connsiteX0" fmla="*/ 27146 w 38100"/>
                <a:gd name="connsiteY0" fmla="*/ 7144 h 57150"/>
                <a:gd name="connsiteX1" fmla="*/ 21431 w 38100"/>
                <a:gd name="connsiteY1" fmla="*/ 37624 h 57150"/>
                <a:gd name="connsiteX2" fmla="*/ 21431 w 38100"/>
                <a:gd name="connsiteY2" fmla="*/ 37624 h 57150"/>
                <a:gd name="connsiteX3" fmla="*/ 15716 w 38100"/>
                <a:gd name="connsiteY3" fmla="*/ 7144 h 57150"/>
                <a:gd name="connsiteX4" fmla="*/ 10954 w 38100"/>
                <a:gd name="connsiteY4" fmla="*/ 7144 h 57150"/>
                <a:gd name="connsiteX5" fmla="*/ 7144 w 38100"/>
                <a:gd name="connsiteY5" fmla="*/ 50959 h 57150"/>
                <a:gd name="connsiteX6" fmla="*/ 12859 w 38100"/>
                <a:gd name="connsiteY6" fmla="*/ 50959 h 57150"/>
                <a:gd name="connsiteX7" fmla="*/ 14764 w 38100"/>
                <a:gd name="connsiteY7" fmla="*/ 22384 h 57150"/>
                <a:gd name="connsiteX8" fmla="*/ 20479 w 38100"/>
                <a:gd name="connsiteY8" fmla="*/ 49054 h 57150"/>
                <a:gd name="connsiteX9" fmla="*/ 22384 w 38100"/>
                <a:gd name="connsiteY9" fmla="*/ 50959 h 57150"/>
                <a:gd name="connsiteX10" fmla="*/ 24289 w 38100"/>
                <a:gd name="connsiteY10" fmla="*/ 50959 h 57150"/>
                <a:gd name="connsiteX11" fmla="*/ 29051 w 38100"/>
                <a:gd name="connsiteY11" fmla="*/ 23336 h 57150"/>
                <a:gd name="connsiteX12" fmla="*/ 29051 w 38100"/>
                <a:gd name="connsiteY12" fmla="*/ 23336 h 57150"/>
                <a:gd name="connsiteX13" fmla="*/ 30956 w 38100"/>
                <a:gd name="connsiteY13" fmla="*/ 50959 h 57150"/>
                <a:gd name="connsiteX14" fmla="*/ 36671 w 38100"/>
                <a:gd name="connsiteY14" fmla="*/ 50959 h 57150"/>
                <a:gd name="connsiteX15" fmla="*/ 32861 w 38100"/>
                <a:gd name="connsiteY15" fmla="*/ 7144 h 57150"/>
                <a:gd name="connsiteX16" fmla="*/ 27146 w 38100"/>
                <a:gd name="connsiteY16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100" h="57150">
                  <a:moveTo>
                    <a:pt x="27146" y="7144"/>
                  </a:moveTo>
                  <a:cubicBezTo>
                    <a:pt x="25241" y="17621"/>
                    <a:pt x="23336" y="27146"/>
                    <a:pt x="21431" y="37624"/>
                  </a:cubicBezTo>
                  <a:cubicBezTo>
                    <a:pt x="21431" y="37624"/>
                    <a:pt x="21431" y="37624"/>
                    <a:pt x="21431" y="37624"/>
                  </a:cubicBezTo>
                  <a:cubicBezTo>
                    <a:pt x="19526" y="27146"/>
                    <a:pt x="17621" y="17621"/>
                    <a:pt x="15716" y="7144"/>
                  </a:cubicBezTo>
                  <a:lnTo>
                    <a:pt x="10954" y="7144"/>
                  </a:lnTo>
                  <a:cubicBezTo>
                    <a:pt x="10001" y="22384"/>
                    <a:pt x="8096" y="36671"/>
                    <a:pt x="7144" y="50959"/>
                  </a:cubicBezTo>
                  <a:lnTo>
                    <a:pt x="12859" y="50959"/>
                  </a:lnTo>
                  <a:cubicBezTo>
                    <a:pt x="13811" y="41434"/>
                    <a:pt x="13811" y="31909"/>
                    <a:pt x="14764" y="22384"/>
                  </a:cubicBezTo>
                  <a:cubicBezTo>
                    <a:pt x="16669" y="30956"/>
                    <a:pt x="18574" y="40481"/>
                    <a:pt x="20479" y="49054"/>
                  </a:cubicBezTo>
                  <a:cubicBezTo>
                    <a:pt x="20479" y="50959"/>
                    <a:pt x="21431" y="50959"/>
                    <a:pt x="22384" y="50959"/>
                  </a:cubicBezTo>
                  <a:cubicBezTo>
                    <a:pt x="23336" y="50959"/>
                    <a:pt x="23336" y="50959"/>
                    <a:pt x="24289" y="50959"/>
                  </a:cubicBezTo>
                  <a:cubicBezTo>
                    <a:pt x="26194" y="41434"/>
                    <a:pt x="28099" y="32861"/>
                    <a:pt x="29051" y="23336"/>
                  </a:cubicBezTo>
                  <a:cubicBezTo>
                    <a:pt x="29051" y="23336"/>
                    <a:pt x="29051" y="23336"/>
                    <a:pt x="29051" y="23336"/>
                  </a:cubicBezTo>
                  <a:cubicBezTo>
                    <a:pt x="30004" y="31909"/>
                    <a:pt x="30004" y="41434"/>
                    <a:pt x="30956" y="50959"/>
                  </a:cubicBezTo>
                  <a:lnTo>
                    <a:pt x="36671" y="50959"/>
                  </a:lnTo>
                  <a:cubicBezTo>
                    <a:pt x="35719" y="36671"/>
                    <a:pt x="33814" y="21431"/>
                    <a:pt x="32861" y="7144"/>
                  </a:cubicBezTo>
                  <a:lnTo>
                    <a:pt x="27146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A97D55BB-09E2-42A4-AA40-9553DC659ED3}"/>
                </a:ext>
              </a:extLst>
            </p:cNvPr>
            <p:cNvSpPr/>
            <p:nvPr/>
          </p:nvSpPr>
          <p:spPr>
            <a:xfrm>
              <a:off x="5597947" y="3424889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1911 h 57150"/>
                <a:gd name="connsiteX2" fmla="*/ 12859 w 28575"/>
                <a:gd name="connsiteY2" fmla="*/ 51911 h 57150"/>
                <a:gd name="connsiteX3" fmla="*/ 12859 w 28575"/>
                <a:gd name="connsiteY3" fmla="*/ 30004 h 57150"/>
                <a:gd name="connsiteX4" fmla="*/ 22384 w 28575"/>
                <a:gd name="connsiteY4" fmla="*/ 30004 h 57150"/>
                <a:gd name="connsiteX5" fmla="*/ 22384 w 28575"/>
                <a:gd name="connsiteY5" fmla="*/ 51911 h 57150"/>
                <a:gd name="connsiteX6" fmla="*/ 28099 w 28575"/>
                <a:gd name="connsiteY6" fmla="*/ 51911 h 57150"/>
                <a:gd name="connsiteX7" fmla="*/ 28099 w 28575"/>
                <a:gd name="connsiteY7" fmla="*/ 8096 h 57150"/>
                <a:gd name="connsiteX8" fmla="*/ 22384 w 28575"/>
                <a:gd name="connsiteY8" fmla="*/ 8096 h 57150"/>
                <a:gd name="connsiteX9" fmla="*/ 22384 w 28575"/>
                <a:gd name="connsiteY9" fmla="*/ 24289 h 57150"/>
                <a:gd name="connsiteX10" fmla="*/ 12859 w 28575"/>
                <a:gd name="connsiteY10" fmla="*/ 24289 h 57150"/>
                <a:gd name="connsiteX11" fmla="*/ 12859 w 28575"/>
                <a:gd name="connsiteY11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1911"/>
                  </a:lnTo>
                  <a:lnTo>
                    <a:pt x="12859" y="51911"/>
                  </a:lnTo>
                  <a:lnTo>
                    <a:pt x="12859" y="30004"/>
                  </a:lnTo>
                  <a:lnTo>
                    <a:pt x="22384" y="30004"/>
                  </a:lnTo>
                  <a:lnTo>
                    <a:pt x="22384" y="51911"/>
                  </a:lnTo>
                  <a:lnTo>
                    <a:pt x="28099" y="51911"/>
                  </a:lnTo>
                  <a:lnTo>
                    <a:pt x="28099" y="8096"/>
                  </a:lnTo>
                  <a:lnTo>
                    <a:pt x="22384" y="8096"/>
                  </a:lnTo>
                  <a:lnTo>
                    <a:pt x="22384" y="24289"/>
                  </a:lnTo>
                  <a:lnTo>
                    <a:pt x="12859" y="24289"/>
                  </a:lnTo>
                  <a:lnTo>
                    <a:pt x="128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158D2B25-4A9C-4AB8-BEDA-637487E4BDF9}"/>
                </a:ext>
              </a:extLst>
            </p:cNvPr>
            <p:cNvSpPr/>
            <p:nvPr/>
          </p:nvSpPr>
          <p:spPr>
            <a:xfrm>
              <a:off x="4867569" y="3424889"/>
              <a:ext cx="112800" cy="169200"/>
            </a:xfrm>
            <a:custGeom>
              <a:avLst/>
              <a:gdLst>
                <a:gd name="connsiteX0" fmla="*/ 15716 w 38100"/>
                <a:gd name="connsiteY0" fmla="*/ 38576 h 57150"/>
                <a:gd name="connsiteX1" fmla="*/ 19526 w 38100"/>
                <a:gd name="connsiteY1" fmla="*/ 17621 h 57150"/>
                <a:gd name="connsiteX2" fmla="*/ 19526 w 38100"/>
                <a:gd name="connsiteY2" fmla="*/ 17621 h 57150"/>
                <a:gd name="connsiteX3" fmla="*/ 22384 w 38100"/>
                <a:gd name="connsiteY3" fmla="*/ 38576 h 57150"/>
                <a:gd name="connsiteX4" fmla="*/ 15716 w 38100"/>
                <a:gd name="connsiteY4" fmla="*/ 38576 h 57150"/>
                <a:gd name="connsiteX5" fmla="*/ 16669 w 38100"/>
                <a:gd name="connsiteY5" fmla="*/ 7144 h 57150"/>
                <a:gd name="connsiteX6" fmla="*/ 7144 w 38100"/>
                <a:gd name="connsiteY6" fmla="*/ 50959 h 57150"/>
                <a:gd name="connsiteX7" fmla="*/ 12859 w 38100"/>
                <a:gd name="connsiteY7" fmla="*/ 50959 h 57150"/>
                <a:gd name="connsiteX8" fmla="*/ 14764 w 38100"/>
                <a:gd name="connsiteY8" fmla="*/ 44291 h 57150"/>
                <a:gd name="connsiteX9" fmla="*/ 15716 w 38100"/>
                <a:gd name="connsiteY9" fmla="*/ 43339 h 57150"/>
                <a:gd name="connsiteX10" fmla="*/ 23336 w 38100"/>
                <a:gd name="connsiteY10" fmla="*/ 43339 h 57150"/>
                <a:gd name="connsiteX11" fmla="*/ 25241 w 38100"/>
                <a:gd name="connsiteY11" fmla="*/ 50006 h 57150"/>
                <a:gd name="connsiteX12" fmla="*/ 26194 w 38100"/>
                <a:gd name="connsiteY12" fmla="*/ 50959 h 57150"/>
                <a:gd name="connsiteX13" fmla="*/ 31909 w 38100"/>
                <a:gd name="connsiteY13" fmla="*/ 50959 h 57150"/>
                <a:gd name="connsiteX14" fmla="*/ 22384 w 38100"/>
                <a:gd name="connsiteY14" fmla="*/ 7144 h 57150"/>
                <a:gd name="connsiteX15" fmla="*/ 16669 w 38100"/>
                <a:gd name="connsiteY15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8100" h="57150">
                  <a:moveTo>
                    <a:pt x="15716" y="38576"/>
                  </a:moveTo>
                  <a:cubicBezTo>
                    <a:pt x="16669" y="30956"/>
                    <a:pt x="17621" y="24289"/>
                    <a:pt x="19526" y="17621"/>
                  </a:cubicBezTo>
                  <a:cubicBezTo>
                    <a:pt x="19526" y="17621"/>
                    <a:pt x="19526" y="17621"/>
                    <a:pt x="19526" y="17621"/>
                  </a:cubicBezTo>
                  <a:cubicBezTo>
                    <a:pt x="20479" y="24289"/>
                    <a:pt x="21431" y="30956"/>
                    <a:pt x="22384" y="38576"/>
                  </a:cubicBezTo>
                  <a:lnTo>
                    <a:pt x="15716" y="38576"/>
                  </a:lnTo>
                  <a:close/>
                  <a:moveTo>
                    <a:pt x="16669" y="7144"/>
                  </a:moveTo>
                  <a:cubicBezTo>
                    <a:pt x="13811" y="21431"/>
                    <a:pt x="10001" y="36671"/>
                    <a:pt x="7144" y="50959"/>
                  </a:cubicBezTo>
                  <a:lnTo>
                    <a:pt x="12859" y="50959"/>
                  </a:lnTo>
                  <a:cubicBezTo>
                    <a:pt x="12859" y="49054"/>
                    <a:pt x="13811" y="46196"/>
                    <a:pt x="14764" y="44291"/>
                  </a:cubicBezTo>
                  <a:cubicBezTo>
                    <a:pt x="14764" y="43339"/>
                    <a:pt x="15716" y="43339"/>
                    <a:pt x="15716" y="43339"/>
                  </a:cubicBezTo>
                  <a:cubicBezTo>
                    <a:pt x="18574" y="43339"/>
                    <a:pt x="20479" y="43339"/>
                    <a:pt x="23336" y="43339"/>
                  </a:cubicBezTo>
                  <a:cubicBezTo>
                    <a:pt x="24289" y="46196"/>
                    <a:pt x="24289" y="48101"/>
                    <a:pt x="25241" y="50006"/>
                  </a:cubicBezTo>
                  <a:cubicBezTo>
                    <a:pt x="25241" y="50959"/>
                    <a:pt x="26194" y="50959"/>
                    <a:pt x="26194" y="50959"/>
                  </a:cubicBezTo>
                  <a:cubicBezTo>
                    <a:pt x="28099" y="50959"/>
                    <a:pt x="30004" y="50959"/>
                    <a:pt x="31909" y="50959"/>
                  </a:cubicBezTo>
                  <a:cubicBezTo>
                    <a:pt x="29051" y="35719"/>
                    <a:pt x="25241" y="21431"/>
                    <a:pt x="22384" y="7144"/>
                  </a:cubicBezTo>
                  <a:lnTo>
                    <a:pt x="1666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551740D8-5007-47F3-8648-4F46F6760894}"/>
                </a:ext>
              </a:extLst>
            </p:cNvPr>
            <p:cNvSpPr/>
            <p:nvPr/>
          </p:nvSpPr>
          <p:spPr>
            <a:xfrm>
              <a:off x="6018129" y="3427711"/>
              <a:ext cx="84600" cy="169200"/>
            </a:xfrm>
            <a:custGeom>
              <a:avLst/>
              <a:gdLst>
                <a:gd name="connsiteX0" fmla="*/ 9049 w 28575"/>
                <a:gd name="connsiteY0" fmla="*/ 7144 h 57150"/>
                <a:gd name="connsiteX1" fmla="*/ 9049 w 28575"/>
                <a:gd name="connsiteY1" fmla="*/ 11906 h 57150"/>
                <a:gd name="connsiteX2" fmla="*/ 20479 w 28575"/>
                <a:gd name="connsiteY2" fmla="*/ 11906 h 57150"/>
                <a:gd name="connsiteX3" fmla="*/ 7144 w 28575"/>
                <a:gd name="connsiteY3" fmla="*/ 50959 h 57150"/>
                <a:gd name="connsiteX4" fmla="*/ 27146 w 28575"/>
                <a:gd name="connsiteY4" fmla="*/ 50959 h 57150"/>
                <a:gd name="connsiteX5" fmla="*/ 27146 w 28575"/>
                <a:gd name="connsiteY5" fmla="*/ 46196 h 57150"/>
                <a:gd name="connsiteX6" fmla="*/ 14764 w 28575"/>
                <a:gd name="connsiteY6" fmla="*/ 46196 h 57150"/>
                <a:gd name="connsiteX7" fmla="*/ 28099 w 28575"/>
                <a:gd name="connsiteY7" fmla="*/ 7144 h 57150"/>
                <a:gd name="connsiteX8" fmla="*/ 9049 w 28575"/>
                <a:gd name="connsiteY8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75" h="57150">
                  <a:moveTo>
                    <a:pt x="9049" y="7144"/>
                  </a:moveTo>
                  <a:lnTo>
                    <a:pt x="9049" y="11906"/>
                  </a:lnTo>
                  <a:lnTo>
                    <a:pt x="20479" y="11906"/>
                  </a:lnTo>
                  <a:cubicBezTo>
                    <a:pt x="15716" y="25241"/>
                    <a:pt x="11906" y="37624"/>
                    <a:pt x="7144" y="50959"/>
                  </a:cubicBezTo>
                  <a:lnTo>
                    <a:pt x="27146" y="50959"/>
                  </a:lnTo>
                  <a:lnTo>
                    <a:pt x="27146" y="46196"/>
                  </a:lnTo>
                  <a:lnTo>
                    <a:pt x="14764" y="46196"/>
                  </a:lnTo>
                  <a:cubicBezTo>
                    <a:pt x="19526" y="32861"/>
                    <a:pt x="23336" y="20479"/>
                    <a:pt x="28099" y="7144"/>
                  </a:cubicBezTo>
                  <a:lnTo>
                    <a:pt x="904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0DFFE3F-D461-4FFF-AB79-B7BF7D9CD84F}"/>
                </a:ext>
              </a:extLst>
            </p:cNvPr>
            <p:cNvSpPr/>
            <p:nvPr/>
          </p:nvSpPr>
          <p:spPr>
            <a:xfrm>
              <a:off x="5840467" y="3424889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1911 h 57150"/>
                <a:gd name="connsiteX2" fmla="*/ 23336 w 28575"/>
                <a:gd name="connsiteY2" fmla="*/ 51911 h 57150"/>
                <a:gd name="connsiteX3" fmla="*/ 23336 w 28575"/>
                <a:gd name="connsiteY3" fmla="*/ 46196 h 57150"/>
                <a:gd name="connsiteX4" fmla="*/ 13811 w 28575"/>
                <a:gd name="connsiteY4" fmla="*/ 46196 h 57150"/>
                <a:gd name="connsiteX5" fmla="*/ 13811 w 28575"/>
                <a:gd name="connsiteY5" fmla="*/ 31909 h 57150"/>
                <a:gd name="connsiteX6" fmla="*/ 22384 w 28575"/>
                <a:gd name="connsiteY6" fmla="*/ 31909 h 57150"/>
                <a:gd name="connsiteX7" fmla="*/ 22384 w 28575"/>
                <a:gd name="connsiteY7" fmla="*/ 26194 h 57150"/>
                <a:gd name="connsiteX8" fmla="*/ 13811 w 28575"/>
                <a:gd name="connsiteY8" fmla="*/ 26194 h 57150"/>
                <a:gd name="connsiteX9" fmla="*/ 13811 w 28575"/>
                <a:gd name="connsiteY9" fmla="*/ 12859 h 57150"/>
                <a:gd name="connsiteX10" fmla="*/ 23336 w 28575"/>
                <a:gd name="connsiteY10" fmla="*/ 12859 h 57150"/>
                <a:gd name="connsiteX11" fmla="*/ 23336 w 28575"/>
                <a:gd name="connsiteY11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1911"/>
                  </a:lnTo>
                  <a:lnTo>
                    <a:pt x="23336" y="51911"/>
                  </a:lnTo>
                  <a:lnTo>
                    <a:pt x="23336" y="46196"/>
                  </a:lnTo>
                  <a:lnTo>
                    <a:pt x="13811" y="46196"/>
                  </a:lnTo>
                  <a:lnTo>
                    <a:pt x="13811" y="31909"/>
                  </a:lnTo>
                  <a:lnTo>
                    <a:pt x="22384" y="31909"/>
                  </a:lnTo>
                  <a:lnTo>
                    <a:pt x="22384" y="26194"/>
                  </a:lnTo>
                  <a:lnTo>
                    <a:pt x="13811" y="26194"/>
                  </a:lnTo>
                  <a:lnTo>
                    <a:pt x="13811" y="12859"/>
                  </a:lnTo>
                  <a:lnTo>
                    <a:pt x="23336" y="12859"/>
                  </a:lnTo>
                  <a:lnTo>
                    <a:pt x="23336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AE626457-7909-4D64-98D8-6FA652C96752}"/>
                </a:ext>
              </a:extLst>
            </p:cNvPr>
            <p:cNvSpPr/>
            <p:nvPr/>
          </p:nvSpPr>
          <p:spPr>
            <a:xfrm>
              <a:off x="6128107" y="3424889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1911 h 57150"/>
                <a:gd name="connsiteX2" fmla="*/ 22384 w 28575"/>
                <a:gd name="connsiteY2" fmla="*/ 51911 h 57150"/>
                <a:gd name="connsiteX3" fmla="*/ 22384 w 28575"/>
                <a:gd name="connsiteY3" fmla="*/ 46196 h 57150"/>
                <a:gd name="connsiteX4" fmla="*/ 12859 w 28575"/>
                <a:gd name="connsiteY4" fmla="*/ 46196 h 57150"/>
                <a:gd name="connsiteX5" fmla="*/ 12859 w 28575"/>
                <a:gd name="connsiteY5" fmla="*/ 31909 h 57150"/>
                <a:gd name="connsiteX6" fmla="*/ 21431 w 28575"/>
                <a:gd name="connsiteY6" fmla="*/ 31909 h 57150"/>
                <a:gd name="connsiteX7" fmla="*/ 21431 w 28575"/>
                <a:gd name="connsiteY7" fmla="*/ 26194 h 57150"/>
                <a:gd name="connsiteX8" fmla="*/ 12859 w 28575"/>
                <a:gd name="connsiteY8" fmla="*/ 26194 h 57150"/>
                <a:gd name="connsiteX9" fmla="*/ 12859 w 28575"/>
                <a:gd name="connsiteY9" fmla="*/ 12859 h 57150"/>
                <a:gd name="connsiteX10" fmla="*/ 22384 w 28575"/>
                <a:gd name="connsiteY10" fmla="*/ 12859 h 57150"/>
                <a:gd name="connsiteX11" fmla="*/ 22384 w 28575"/>
                <a:gd name="connsiteY11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1911"/>
                  </a:lnTo>
                  <a:lnTo>
                    <a:pt x="22384" y="51911"/>
                  </a:lnTo>
                  <a:lnTo>
                    <a:pt x="22384" y="46196"/>
                  </a:lnTo>
                  <a:lnTo>
                    <a:pt x="12859" y="46196"/>
                  </a:lnTo>
                  <a:lnTo>
                    <a:pt x="12859" y="31909"/>
                  </a:lnTo>
                  <a:lnTo>
                    <a:pt x="21431" y="31909"/>
                  </a:lnTo>
                  <a:lnTo>
                    <a:pt x="21431" y="26194"/>
                  </a:lnTo>
                  <a:lnTo>
                    <a:pt x="12859" y="26194"/>
                  </a:lnTo>
                  <a:lnTo>
                    <a:pt x="12859" y="12859"/>
                  </a:lnTo>
                  <a:lnTo>
                    <a:pt x="22384" y="12859"/>
                  </a:lnTo>
                  <a:lnTo>
                    <a:pt x="22384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78453F4A-FCCB-4643-BB5A-FB07B03BFDA1}"/>
                </a:ext>
              </a:extLst>
            </p:cNvPr>
            <p:cNvSpPr/>
            <p:nvPr/>
          </p:nvSpPr>
          <p:spPr>
            <a:xfrm>
              <a:off x="5941987" y="3427711"/>
              <a:ext cx="84600" cy="169200"/>
            </a:xfrm>
            <a:custGeom>
              <a:avLst/>
              <a:gdLst>
                <a:gd name="connsiteX0" fmla="*/ 7144 w 28575"/>
                <a:gd name="connsiteY0" fmla="*/ 7144 h 57150"/>
                <a:gd name="connsiteX1" fmla="*/ 7144 w 28575"/>
                <a:gd name="connsiteY1" fmla="*/ 50959 h 57150"/>
                <a:gd name="connsiteX2" fmla="*/ 22384 w 28575"/>
                <a:gd name="connsiteY2" fmla="*/ 50959 h 57150"/>
                <a:gd name="connsiteX3" fmla="*/ 22384 w 28575"/>
                <a:gd name="connsiteY3" fmla="*/ 45244 h 57150"/>
                <a:gd name="connsiteX4" fmla="*/ 12859 w 28575"/>
                <a:gd name="connsiteY4" fmla="*/ 45244 h 57150"/>
                <a:gd name="connsiteX5" fmla="*/ 12859 w 28575"/>
                <a:gd name="connsiteY5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57150">
                  <a:moveTo>
                    <a:pt x="7144" y="7144"/>
                  </a:moveTo>
                  <a:lnTo>
                    <a:pt x="7144" y="50959"/>
                  </a:lnTo>
                  <a:lnTo>
                    <a:pt x="22384" y="50959"/>
                  </a:lnTo>
                  <a:lnTo>
                    <a:pt x="22384" y="45244"/>
                  </a:lnTo>
                  <a:lnTo>
                    <a:pt x="12859" y="45244"/>
                  </a:lnTo>
                  <a:lnTo>
                    <a:pt x="128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5D30EDF0-8B33-42CF-A87C-7D3860A0CFDC}"/>
                </a:ext>
              </a:extLst>
            </p:cNvPr>
            <p:cNvSpPr/>
            <p:nvPr/>
          </p:nvSpPr>
          <p:spPr>
            <a:xfrm>
              <a:off x="6249369" y="2691689"/>
              <a:ext cx="84600" cy="112800"/>
            </a:xfrm>
            <a:custGeom>
              <a:avLst/>
              <a:gdLst>
                <a:gd name="connsiteX0" fmla="*/ 19526 w 28575"/>
                <a:gd name="connsiteY0" fmla="*/ 19526 h 38100"/>
                <a:gd name="connsiteX1" fmla="*/ 10954 w 28575"/>
                <a:gd name="connsiteY1" fmla="*/ 20479 h 38100"/>
                <a:gd name="connsiteX2" fmla="*/ 10954 w 28575"/>
                <a:gd name="connsiteY2" fmla="*/ 10954 h 38100"/>
                <a:gd name="connsiteX3" fmla="*/ 19526 w 28575"/>
                <a:gd name="connsiteY3" fmla="*/ 11906 h 38100"/>
                <a:gd name="connsiteX4" fmla="*/ 22384 w 28575"/>
                <a:gd name="connsiteY4" fmla="*/ 15716 h 38100"/>
                <a:gd name="connsiteX5" fmla="*/ 19526 w 28575"/>
                <a:gd name="connsiteY5" fmla="*/ 19526 h 38100"/>
                <a:gd name="connsiteX6" fmla="*/ 27146 w 28575"/>
                <a:gd name="connsiteY6" fmla="*/ 12859 h 38100"/>
                <a:gd name="connsiteX7" fmla="*/ 20479 w 28575"/>
                <a:gd name="connsiteY7" fmla="*/ 7144 h 38100"/>
                <a:gd name="connsiteX8" fmla="*/ 12859 w 28575"/>
                <a:gd name="connsiteY8" fmla="*/ 7144 h 38100"/>
                <a:gd name="connsiteX9" fmla="*/ 7144 w 28575"/>
                <a:gd name="connsiteY9" fmla="*/ 7144 h 38100"/>
                <a:gd name="connsiteX10" fmla="*/ 7144 w 28575"/>
                <a:gd name="connsiteY10" fmla="*/ 33814 h 38100"/>
                <a:gd name="connsiteX11" fmla="*/ 11906 w 28575"/>
                <a:gd name="connsiteY11" fmla="*/ 33814 h 38100"/>
                <a:gd name="connsiteX12" fmla="*/ 11906 w 28575"/>
                <a:gd name="connsiteY12" fmla="*/ 22384 h 38100"/>
                <a:gd name="connsiteX13" fmla="*/ 20479 w 28575"/>
                <a:gd name="connsiteY13" fmla="*/ 24289 h 38100"/>
                <a:gd name="connsiteX14" fmla="*/ 23336 w 28575"/>
                <a:gd name="connsiteY14" fmla="*/ 33814 h 38100"/>
                <a:gd name="connsiteX15" fmla="*/ 27146 w 28575"/>
                <a:gd name="connsiteY15" fmla="*/ 33814 h 38100"/>
                <a:gd name="connsiteX16" fmla="*/ 22384 w 28575"/>
                <a:gd name="connsiteY16" fmla="*/ 21431 h 38100"/>
                <a:gd name="connsiteX17" fmla="*/ 27146 w 28575"/>
                <a:gd name="connsiteY17" fmla="*/ 1285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575" h="38100">
                  <a:moveTo>
                    <a:pt x="19526" y="19526"/>
                  </a:moveTo>
                  <a:cubicBezTo>
                    <a:pt x="16669" y="20479"/>
                    <a:pt x="13811" y="20479"/>
                    <a:pt x="10954" y="20479"/>
                  </a:cubicBezTo>
                  <a:lnTo>
                    <a:pt x="10954" y="10954"/>
                  </a:lnTo>
                  <a:cubicBezTo>
                    <a:pt x="13811" y="10954"/>
                    <a:pt x="16669" y="10954"/>
                    <a:pt x="19526" y="11906"/>
                  </a:cubicBezTo>
                  <a:cubicBezTo>
                    <a:pt x="21431" y="11906"/>
                    <a:pt x="22384" y="13811"/>
                    <a:pt x="22384" y="15716"/>
                  </a:cubicBezTo>
                  <a:cubicBezTo>
                    <a:pt x="22384" y="16669"/>
                    <a:pt x="21431" y="18574"/>
                    <a:pt x="19526" y="19526"/>
                  </a:cubicBezTo>
                  <a:moveTo>
                    <a:pt x="27146" y="12859"/>
                  </a:moveTo>
                  <a:cubicBezTo>
                    <a:pt x="27146" y="10001"/>
                    <a:pt x="24289" y="7144"/>
                    <a:pt x="20479" y="7144"/>
                  </a:cubicBezTo>
                  <a:cubicBezTo>
                    <a:pt x="17621" y="7144"/>
                    <a:pt x="14764" y="7144"/>
                    <a:pt x="12859" y="7144"/>
                  </a:cubicBezTo>
                  <a:cubicBezTo>
                    <a:pt x="10954" y="7144"/>
                    <a:pt x="9049" y="7144"/>
                    <a:pt x="7144" y="7144"/>
                  </a:cubicBezTo>
                  <a:lnTo>
                    <a:pt x="7144" y="33814"/>
                  </a:lnTo>
                  <a:lnTo>
                    <a:pt x="11906" y="33814"/>
                  </a:lnTo>
                  <a:lnTo>
                    <a:pt x="11906" y="22384"/>
                  </a:lnTo>
                  <a:cubicBezTo>
                    <a:pt x="14764" y="23336"/>
                    <a:pt x="18574" y="22384"/>
                    <a:pt x="20479" y="24289"/>
                  </a:cubicBezTo>
                  <a:cubicBezTo>
                    <a:pt x="24289" y="26194"/>
                    <a:pt x="22384" y="30004"/>
                    <a:pt x="23336" y="33814"/>
                  </a:cubicBezTo>
                  <a:lnTo>
                    <a:pt x="27146" y="33814"/>
                  </a:lnTo>
                  <a:cubicBezTo>
                    <a:pt x="27146" y="29051"/>
                    <a:pt x="28099" y="24289"/>
                    <a:pt x="22384" y="21431"/>
                  </a:cubicBezTo>
                  <a:cubicBezTo>
                    <a:pt x="26194" y="19526"/>
                    <a:pt x="27146" y="17621"/>
                    <a:pt x="27146" y="1285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71475" y="6489700"/>
            <a:ext cx="4985510" cy="3683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US" dirty="0" smtClean="0"/>
              <a:t>CONFIDENTIA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831C3B7-9E09-469B-A02E-193B6B7A50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37501" y="3246803"/>
            <a:ext cx="8516997" cy="1325563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4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59352DB-4EB8-4BDC-8A50-1D1AA6AA3F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3737" y="4576867"/>
            <a:ext cx="5724525" cy="60166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10000"/>
                    <a:lumOff val="9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Monat XXXX</a:t>
            </a:r>
          </a:p>
        </p:txBody>
      </p:sp>
      <p:grpSp>
        <p:nvGrpSpPr>
          <p:cNvPr id="41" name="Grafik 15">
            <a:extLst>
              <a:ext uri="{FF2B5EF4-FFF2-40B4-BE49-F238E27FC236}">
                <a16:creationId xmlns:a16="http://schemas.microsoft.com/office/drawing/2014/main" id="{1234F928-F062-4F72-8119-CBDFA604F9E4}"/>
              </a:ext>
            </a:extLst>
          </p:cNvPr>
          <p:cNvGrpSpPr/>
          <p:nvPr userDrawn="1"/>
        </p:nvGrpSpPr>
        <p:grpSpPr>
          <a:xfrm>
            <a:off x="4732879" y="3109974"/>
            <a:ext cx="2780361" cy="100013"/>
            <a:chOff x="5434012" y="3405187"/>
            <a:chExt cx="1323975" cy="47625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C32A63D-8C15-43AE-A078-6FA4B2D0B242}"/>
                </a:ext>
              </a:extLst>
            </p:cNvPr>
            <p:cNvSpPr/>
            <p:nvPr/>
          </p:nvSpPr>
          <p:spPr>
            <a:xfrm>
              <a:off x="5426868" y="3398043"/>
              <a:ext cx="276225" cy="57150"/>
            </a:xfrm>
            <a:custGeom>
              <a:avLst/>
              <a:gdLst>
                <a:gd name="connsiteX0" fmla="*/ 50959 w 276225"/>
                <a:gd name="connsiteY0" fmla="*/ 7144 h 57150"/>
                <a:gd name="connsiteX1" fmla="*/ 7144 w 276225"/>
                <a:gd name="connsiteY1" fmla="*/ 49054 h 57150"/>
                <a:gd name="connsiteX2" fmla="*/ 226219 w 276225"/>
                <a:gd name="connsiteY2" fmla="*/ 50006 h 57150"/>
                <a:gd name="connsiteX3" fmla="*/ 270986 w 276225"/>
                <a:gd name="connsiteY3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57150">
                  <a:moveTo>
                    <a:pt x="50959" y="7144"/>
                  </a:moveTo>
                  <a:lnTo>
                    <a:pt x="7144" y="49054"/>
                  </a:lnTo>
                  <a:lnTo>
                    <a:pt x="226219" y="50006"/>
                  </a:lnTo>
                  <a:lnTo>
                    <a:pt x="270986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A3FE8390-871B-42CE-AAC7-4440DC3B47D6}"/>
                </a:ext>
              </a:extLst>
            </p:cNvPr>
            <p:cNvSpPr/>
            <p:nvPr/>
          </p:nvSpPr>
          <p:spPr>
            <a:xfrm>
              <a:off x="5777388" y="3398996"/>
              <a:ext cx="276225" cy="47625"/>
            </a:xfrm>
            <a:custGeom>
              <a:avLst/>
              <a:gdLst>
                <a:gd name="connsiteX0" fmla="*/ 7144 w 276225"/>
                <a:gd name="connsiteY0" fmla="*/ 49054 h 47625"/>
                <a:gd name="connsiteX1" fmla="*/ 226219 w 276225"/>
                <a:gd name="connsiteY1" fmla="*/ 50006 h 47625"/>
                <a:gd name="connsiteX2" fmla="*/ 270986 w 276225"/>
                <a:gd name="connsiteY2" fmla="*/ 7144 h 47625"/>
                <a:gd name="connsiteX3" fmla="*/ 50959 w 2762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47625">
                  <a:moveTo>
                    <a:pt x="7144" y="49054"/>
                  </a:moveTo>
                  <a:lnTo>
                    <a:pt x="226219" y="50006"/>
                  </a:lnTo>
                  <a:lnTo>
                    <a:pt x="270986" y="7144"/>
                  </a:lnTo>
                  <a:lnTo>
                    <a:pt x="509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D09082A8-1909-4930-8EDA-BD6293A58DFA}"/>
                </a:ext>
              </a:extLst>
            </p:cNvPr>
            <p:cNvSpPr/>
            <p:nvPr/>
          </p:nvSpPr>
          <p:spPr>
            <a:xfrm>
              <a:off x="6131718" y="3399948"/>
              <a:ext cx="276225" cy="47625"/>
            </a:xfrm>
            <a:custGeom>
              <a:avLst/>
              <a:gdLst>
                <a:gd name="connsiteX0" fmla="*/ 7144 w 276225"/>
                <a:gd name="connsiteY0" fmla="*/ 49054 h 47625"/>
                <a:gd name="connsiteX1" fmla="*/ 227171 w 276225"/>
                <a:gd name="connsiteY1" fmla="*/ 49054 h 47625"/>
                <a:gd name="connsiteX2" fmla="*/ 270986 w 276225"/>
                <a:gd name="connsiteY2" fmla="*/ 7144 h 47625"/>
                <a:gd name="connsiteX3" fmla="*/ 51911 w 2762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47625">
                  <a:moveTo>
                    <a:pt x="7144" y="49054"/>
                  </a:moveTo>
                  <a:lnTo>
                    <a:pt x="227171" y="49054"/>
                  </a:lnTo>
                  <a:lnTo>
                    <a:pt x="270986" y="7144"/>
                  </a:lnTo>
                  <a:lnTo>
                    <a:pt x="51911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79152736-494F-4395-A463-9F89E52725DF}"/>
                </a:ext>
              </a:extLst>
            </p:cNvPr>
            <p:cNvSpPr/>
            <p:nvPr/>
          </p:nvSpPr>
          <p:spPr>
            <a:xfrm>
              <a:off x="6487953" y="3399948"/>
              <a:ext cx="276225" cy="47625"/>
            </a:xfrm>
            <a:custGeom>
              <a:avLst/>
              <a:gdLst>
                <a:gd name="connsiteX0" fmla="*/ 7144 w 276225"/>
                <a:gd name="connsiteY0" fmla="*/ 50006 h 47625"/>
                <a:gd name="connsiteX1" fmla="*/ 226219 w 276225"/>
                <a:gd name="connsiteY1" fmla="*/ 50006 h 47625"/>
                <a:gd name="connsiteX2" fmla="*/ 270986 w 276225"/>
                <a:gd name="connsiteY2" fmla="*/ 8096 h 47625"/>
                <a:gd name="connsiteX3" fmla="*/ 50959 w 2762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47625">
                  <a:moveTo>
                    <a:pt x="7144" y="50006"/>
                  </a:moveTo>
                  <a:lnTo>
                    <a:pt x="226219" y="50006"/>
                  </a:lnTo>
                  <a:lnTo>
                    <a:pt x="270986" y="8096"/>
                  </a:lnTo>
                  <a:lnTo>
                    <a:pt x="50959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42272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46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pos="483">
          <p15:clr>
            <a:srgbClr val="FBAE40"/>
          </p15:clr>
        </p15:guide>
        <p15:guide id="8" pos="721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>
            <a:extLst>
              <a:ext uri="{FF2B5EF4-FFF2-40B4-BE49-F238E27FC236}">
                <a16:creationId xmlns:a16="http://schemas.microsoft.com/office/drawing/2014/main" id="{F2E89817-6697-4EA4-8649-9AB96DFEA9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1166018"/>
            <a:ext cx="9194312" cy="5246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ier folgt eine Aufzählung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24785CD-EEFC-463A-BB0E-0EF76412D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5953CD5B-AE3D-4796-96D1-FE0539F5EE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163" y="6489700"/>
            <a:ext cx="360362" cy="368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6FAFAE-B3D1-47A6-B933-CD41C99AEDE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2D634D-961B-46E3-8D23-C8185419A8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690688"/>
            <a:ext cx="11088688" cy="4594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de-DE" dirty="0"/>
              <a:t>Zwei flinke Boxer jagen die quirlige Eva und ihren Mops durch Sylt. </a:t>
            </a:r>
          </a:p>
          <a:p>
            <a:pPr lvl="0"/>
            <a:r>
              <a:rPr lang="de-DE" dirty="0"/>
              <a:t>Franz jagt im komplett verwahrlosten Taxi quer durch Bayern. </a:t>
            </a:r>
          </a:p>
          <a:p>
            <a:pPr lvl="0"/>
            <a:r>
              <a:rPr lang="de-DE" dirty="0"/>
              <a:t>Vogel </a:t>
            </a:r>
            <a:r>
              <a:rPr lang="de-DE" dirty="0" err="1"/>
              <a:t>Quax</a:t>
            </a:r>
            <a:r>
              <a:rPr lang="de-DE" dirty="0"/>
              <a:t> zwickt Johnys Pferd Bim. Sylvia wagt quick den Jux bei Pforzheim. </a:t>
            </a:r>
          </a:p>
          <a:p>
            <a:pPr lvl="0"/>
            <a:r>
              <a:rPr lang="de-DE" dirty="0"/>
              <a:t>Polyfon zwitschernd aßen </a:t>
            </a:r>
            <a:r>
              <a:rPr lang="de-DE" dirty="0" err="1"/>
              <a:t>Mäxchens</a:t>
            </a:r>
            <a:r>
              <a:rPr lang="de-DE" dirty="0"/>
              <a:t> Vögel Rüben, Joghurt und Quark. </a:t>
            </a:r>
          </a:p>
          <a:p>
            <a:pPr lvl="0"/>
            <a:r>
              <a:rPr lang="de-DE" dirty="0"/>
              <a:t>"Fix, Schwyz!" quäkt Jürgen blöd vom </a:t>
            </a:r>
            <a:r>
              <a:rPr lang="de-DE" dirty="0" err="1"/>
              <a:t>Paß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Victor jagt zwölf Boxkämpfer quer über den großen Sylter Deich. </a:t>
            </a:r>
          </a:p>
          <a:p>
            <a:pPr lvl="0"/>
            <a:r>
              <a:rPr lang="de-DE" dirty="0"/>
              <a:t>Falsches Üben von </a:t>
            </a:r>
            <a:r>
              <a:rPr lang="de-DE" dirty="0" err="1"/>
              <a:t>Xylophonmusik</a:t>
            </a:r>
            <a:r>
              <a:rPr lang="de-DE" dirty="0"/>
              <a:t> quält jeden größeren Zwerg. </a:t>
            </a:r>
          </a:p>
          <a:p>
            <a:pPr lvl="0"/>
            <a:r>
              <a:rPr lang="de-DE" dirty="0" err="1"/>
              <a:t>Heizölrückstoßabdämpfung</a:t>
            </a:r>
            <a:r>
              <a:rPr lang="de-DE" dirty="0"/>
              <a:t>.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908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1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792D634D-961B-46E3-8D23-C8185419A8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801" y="1515609"/>
            <a:ext cx="10582267" cy="4594225"/>
          </a:xfrm>
          <a:prstGeom prst="rect">
            <a:avLst/>
          </a:prstGeom>
        </p:spPr>
        <p:txBody>
          <a:bodyPr/>
          <a:lstStyle>
            <a:lvl1pPr marL="342891" indent="-342891"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800080" indent="-342891">
              <a:buSzPct val="100000"/>
              <a:buFont typeface="Arial" panose="020B0604020202020204" pitchFamily="34" charset="0"/>
              <a:buChar char="•"/>
              <a:defRPr sz="2000">
                <a:latin typeface="Arial Narrow" panose="020B0606020202030204" pitchFamily="34" charset="0"/>
              </a:defRPr>
            </a:lvl2pPr>
            <a:lvl3pPr marL="1165196" indent="-250819">
              <a:buFont typeface="Arial" panose="020B0604020202020204" pitchFamily="34" charset="0"/>
              <a:buChar char="•"/>
              <a:defRPr/>
            </a:lvl3pPr>
            <a:lvl4pPr>
              <a:defRPr/>
            </a:lvl4pPr>
          </a:lstStyle>
          <a:p>
            <a:pPr lvl="0"/>
            <a:r>
              <a:rPr lang="de-DE" noProof="0" dirty="0" smtClean="0"/>
              <a:t>Zwei flinke Boxer jagen die quirlige Eva und ihren Mops durch Sylt.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0"/>
            <a:r>
              <a:rPr lang="de-DE" noProof="0" dirty="0" smtClean="0"/>
              <a:t>Franz jagt im komplett verwahrlosten Taxi quer durch Bayern. </a:t>
            </a:r>
          </a:p>
          <a:p>
            <a:pPr lvl="0"/>
            <a:r>
              <a:rPr lang="de-DE" noProof="0" dirty="0" smtClean="0"/>
              <a:t>Vogel </a:t>
            </a:r>
            <a:r>
              <a:rPr lang="de-DE" noProof="0" dirty="0" err="1" smtClean="0"/>
              <a:t>Quax</a:t>
            </a:r>
            <a:r>
              <a:rPr lang="de-DE" noProof="0" dirty="0" smtClean="0"/>
              <a:t> zwickt Johnys Pferd Bim. Sylvia wagt quick den Jux bei Pforzheim. </a:t>
            </a:r>
          </a:p>
          <a:p>
            <a:pPr lvl="0"/>
            <a:r>
              <a:rPr lang="de-DE" noProof="0" dirty="0" smtClean="0"/>
              <a:t>Polyfon zwitschernd aßen </a:t>
            </a:r>
            <a:r>
              <a:rPr lang="de-DE" noProof="0" dirty="0" err="1" smtClean="0"/>
              <a:t>Mäxchens</a:t>
            </a:r>
            <a:r>
              <a:rPr lang="de-DE" noProof="0" dirty="0" smtClean="0"/>
              <a:t> Vögel Rüben, Joghurt und Quark. </a:t>
            </a:r>
          </a:p>
          <a:p>
            <a:pPr lvl="0"/>
            <a:r>
              <a:rPr lang="de-DE" noProof="0" dirty="0" smtClean="0"/>
              <a:t>"Fix, Schwyz!" quäkt Jürgen blöd vom </a:t>
            </a:r>
            <a:r>
              <a:rPr lang="de-DE" noProof="0" dirty="0" err="1" smtClean="0"/>
              <a:t>Paß</a:t>
            </a:r>
            <a:r>
              <a:rPr lang="de-DE" noProof="0" dirty="0" smtClean="0"/>
              <a:t>. </a:t>
            </a:r>
          </a:p>
          <a:p>
            <a:pPr lvl="0"/>
            <a:r>
              <a:rPr lang="de-DE" noProof="0" dirty="0" smtClean="0"/>
              <a:t>Victor jagt zwölf Boxkämpfer quer über den großen </a:t>
            </a:r>
            <a:r>
              <a:rPr lang="de-DE" noProof="0" dirty="0" err="1" smtClean="0"/>
              <a:t>Sylter</a:t>
            </a:r>
            <a:r>
              <a:rPr lang="de-DE" noProof="0" dirty="0" smtClean="0"/>
              <a:t> Deich. </a:t>
            </a:r>
          </a:p>
          <a:p>
            <a:pPr lvl="0"/>
            <a:r>
              <a:rPr lang="de-DE" noProof="0" dirty="0" smtClean="0"/>
              <a:t>Falsches Üben von </a:t>
            </a:r>
            <a:r>
              <a:rPr lang="de-DE" noProof="0" dirty="0" err="1" smtClean="0"/>
              <a:t>Xylophonmusik</a:t>
            </a:r>
            <a:r>
              <a:rPr lang="de-DE" noProof="0" dirty="0" smtClean="0"/>
              <a:t> quält jeden größeren Zwerg. </a:t>
            </a:r>
          </a:p>
          <a:p>
            <a:pPr lvl="0"/>
            <a:r>
              <a:rPr lang="de-DE" noProof="0" dirty="0" err="1" smtClean="0"/>
              <a:t>Heizölrückstoßabdämpfung</a:t>
            </a:r>
            <a:r>
              <a:rPr lang="de-DE" noProof="0" dirty="0" smtClean="0"/>
              <a:t>.</a:t>
            </a:r>
          </a:p>
          <a:p>
            <a:pPr lvl="4"/>
            <a:endParaRPr lang="de-DE" noProof="0" dirty="0"/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 bearbeiten</a:t>
            </a:r>
            <a:br>
              <a:rPr lang="de-DE" noProof="0" dirty="0" smtClean="0"/>
            </a:br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Hier folgt eine Aufzählu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0045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>
            <a:extLst>
              <a:ext uri="{FF2B5EF4-FFF2-40B4-BE49-F238E27FC236}">
                <a16:creationId xmlns:a16="http://schemas.microsoft.com/office/drawing/2014/main" id="{F2E89817-6697-4EA4-8649-9AB96DFEA9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1166018"/>
            <a:ext cx="9194312" cy="5246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ier folgt ein Aufzählung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24785CD-EEFC-463A-BB0E-0EF76412D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636ABD93-CBAD-41E3-A1D0-7E98149B36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163" y="6489700"/>
            <a:ext cx="360362" cy="368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6FAFAE-B3D1-47A6-B933-CD41C99AEDE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808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fl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71475" y="1166018"/>
            <a:ext cx="9194312" cy="5246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Das ist eine Zwischenüberschrift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5FDD60A-F324-4C97-A093-018892E97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DD0F5FC-4BFE-43BC-8C5F-A606DE97A3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690688"/>
            <a:ext cx="11449050" cy="47990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 ist ein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n ihm kann man sehen, ob alle Buchstaben da sind und wie sie aussehen. Manchmal benutzt man Worte wie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burgefont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fgenduk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er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dglove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Schriften zu testen. Manchmal Sätze, die alle Buchstaben des Alphabets enthalten - man nennt diese Sätze »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gram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. Sehr bekannt ist dieser: The quick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wn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x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mps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zy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Oft werden in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e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ch fremdsprachige Satzteile eingebaut (AVAIL® and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fox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™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sting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ssi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rning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um die Wirkung in anderen Sprachen zu testen. In Lateinisch sieht zum Beispiel fast jede Schrift gut aus. Quod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at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monstrandum. Seit 1975 fehlen in den meisten Testtexten die Zahlen, weswegen nach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Gb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04 § ab dem Jahr 2034 Zahlen in 86 der Texte zur Pflicht werden. Nichteinhaltung wird mit bis zu 245 € oder 368 $ bestraft. Genauso wichtig in sind mittlerweile auch </a:t>
            </a:r>
            <a:r>
              <a:rPr lang="de-DE" sz="20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Âçcèñtë</a:t>
            </a:r>
            <a:r>
              <a:rPr lang="de-DE" sz="2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in neueren Schriften aber fast immer enthalten sind. </a:t>
            </a:r>
            <a:endParaRPr lang="de-DE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537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0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8801" y="1569475"/>
            <a:ext cx="10582267" cy="4421631"/>
          </a:xfrm>
          <a:prstGeom prst="rect">
            <a:avLst/>
          </a:prstGeom>
        </p:spPr>
        <p:txBody>
          <a:bodyPr>
            <a:noAutofit/>
          </a:bodyPr>
          <a:lstStyle>
            <a:lvl1pPr marL="514338" marR="0" indent="-514338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+mj-lt"/>
              <a:buAutoNum type="arabicPeriod"/>
              <a:tabLst/>
              <a:defRPr lang="en-US"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96916" indent="-449251">
              <a:buSzPct val="100000"/>
              <a:buFont typeface="+mj-lt"/>
              <a:buAutoNum type="arabicPeriod"/>
              <a:defRPr lang="en-US" sz="2000" kern="1200" baseline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71566" indent="-457189">
              <a:buSzPct val="100000"/>
              <a:buFont typeface="+mj-lt"/>
              <a:buAutoNum type="arabicPeriod"/>
              <a:defRPr>
                <a:latin typeface="Arial Narrow" panose="020B0606020202030204" pitchFamily="34" charset="0"/>
              </a:defRPr>
            </a:lvl3pPr>
            <a:lvl4pPr marL="1828754" indent="-457189">
              <a:buSzPct val="100000"/>
              <a:buAutoNum type="arabicPeriod"/>
              <a:defRPr sz="2000">
                <a:latin typeface="Arial Narrow" panose="020B0606020202030204" pitchFamily="34" charset="0"/>
              </a:defRPr>
            </a:lvl4pPr>
            <a:lvl5pPr marL="2285943" indent="-457189">
              <a:buSzPct val="100000"/>
              <a:buFont typeface="+mj-lt"/>
              <a:buAutoNum type="arabicPeriod"/>
              <a:defRPr sz="2000">
                <a:latin typeface="Arial Narrow" panose="020B0606020202030204" pitchFamily="34" charset="0"/>
              </a:defRPr>
            </a:lvl5pPr>
            <a:lvl6pPr>
              <a:buSzPct val="100000"/>
              <a:defRPr sz="2000">
                <a:latin typeface="Arial Narrow" panose="020B0606020202030204" pitchFamily="34" charset="0"/>
              </a:defRPr>
            </a:lvl6pPr>
          </a:lstStyle>
          <a:p>
            <a:pPr lvl="0"/>
            <a:r>
              <a:rPr lang="de-DE" dirty="0" smtClean="0"/>
              <a:t>Zwei flinke Boxer jagen die quirlige Eva und ihren Mops durch Sylt. 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0"/>
            <a:r>
              <a:rPr lang="de-DE" dirty="0" smtClean="0"/>
              <a:t>Franz jagt im komplett verwahrlosten Taxi quer durch Bayern. </a:t>
            </a:r>
          </a:p>
          <a:p>
            <a:pPr lvl="0"/>
            <a:r>
              <a:rPr lang="de-DE" dirty="0" smtClean="0"/>
              <a:t>Vogel </a:t>
            </a:r>
            <a:r>
              <a:rPr lang="de-DE" dirty="0" err="1" smtClean="0"/>
              <a:t>Quax</a:t>
            </a:r>
            <a:r>
              <a:rPr lang="de-DE" dirty="0" smtClean="0"/>
              <a:t> zwickt Johnys Pferd Bim. Sylvia wagt quick den Jux bei Pforzheim. </a:t>
            </a:r>
          </a:p>
          <a:p>
            <a:pPr lvl="0"/>
            <a:r>
              <a:rPr lang="de-DE" dirty="0" smtClean="0"/>
              <a:t>Polyfon zwitschernd aßen </a:t>
            </a:r>
            <a:r>
              <a:rPr lang="de-DE" dirty="0" err="1" smtClean="0"/>
              <a:t>Mäxchens</a:t>
            </a:r>
            <a:r>
              <a:rPr lang="de-DE" dirty="0" smtClean="0"/>
              <a:t> Vögel Rüben, Joghurt und Quark. </a:t>
            </a:r>
          </a:p>
          <a:p>
            <a:pPr lvl="0"/>
            <a:r>
              <a:rPr lang="de-DE" dirty="0" smtClean="0"/>
              <a:t>"Fix, Schwyz!" quäkt Jürgen blöd vom </a:t>
            </a:r>
            <a:r>
              <a:rPr lang="de-DE" dirty="0" err="1" smtClean="0"/>
              <a:t>Paß</a:t>
            </a:r>
            <a:r>
              <a:rPr lang="de-DE" dirty="0" smtClean="0"/>
              <a:t>. </a:t>
            </a:r>
          </a:p>
          <a:p>
            <a:pPr lvl="0"/>
            <a:r>
              <a:rPr lang="de-DE" dirty="0" smtClean="0"/>
              <a:t>Victor jagt zwölf Boxkämpfer quer über den großen </a:t>
            </a:r>
            <a:r>
              <a:rPr lang="de-DE" dirty="0" err="1" smtClean="0"/>
              <a:t>Sylter</a:t>
            </a:r>
            <a:r>
              <a:rPr lang="de-DE" dirty="0" smtClean="0"/>
              <a:t> Deich. </a:t>
            </a:r>
          </a:p>
          <a:p>
            <a:pPr lvl="0"/>
            <a:r>
              <a:rPr lang="de-DE" dirty="0" smtClean="0"/>
              <a:t>Falsches Üben von </a:t>
            </a:r>
            <a:r>
              <a:rPr lang="de-DE" dirty="0" err="1" smtClean="0"/>
              <a:t>Xylophonmusik</a:t>
            </a:r>
            <a:r>
              <a:rPr lang="de-DE" dirty="0" smtClean="0"/>
              <a:t> quält jeden größeren Zwerg. </a:t>
            </a:r>
          </a:p>
          <a:p>
            <a:pPr lvl="0"/>
            <a:r>
              <a:rPr lang="de-DE" dirty="0" err="1" smtClean="0"/>
              <a:t>Heizölrückstoßabdämpfung</a:t>
            </a:r>
            <a:r>
              <a:rPr lang="de-DE" dirty="0" smtClean="0"/>
              <a:t>.</a:t>
            </a:r>
          </a:p>
          <a:p>
            <a:pPr marL="514338" marR="0" lvl="0" indent="-514338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80000"/>
              <a:buFont typeface="Wingdings 2" panose="05020102010507070707" pitchFamily="18" charset="2"/>
              <a:buAutoNum type="arabicPeriod"/>
              <a:tabLst/>
              <a:defRPr/>
            </a:pPr>
            <a:endParaRPr lang="de-DE" noProof="0" dirty="0" smtClean="0"/>
          </a:p>
          <a:p>
            <a:endParaRPr lang="de-DE" noProof="0" dirty="0" smtClean="0"/>
          </a:p>
          <a:p>
            <a:endParaRPr lang="de-DE" noProof="0" dirty="0" smtClean="0"/>
          </a:p>
          <a:p>
            <a:pPr lvl="4"/>
            <a:endParaRPr lang="de-DE" noProof="0" dirty="0" smtClean="0"/>
          </a:p>
          <a:p>
            <a:pPr lvl="4"/>
            <a:endParaRPr lang="de-DE" noProof="0" dirty="0" smtClean="0"/>
          </a:p>
          <a:p>
            <a:pPr lvl="2"/>
            <a:endParaRPr lang="de-DE" noProof="0" dirty="0" smtClean="0"/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 bearbeiten</a:t>
            </a:r>
            <a:br>
              <a:rPr lang="de-DE" noProof="0" dirty="0" smtClean="0"/>
            </a:br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Hier folgt eine Nummerieru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59154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7045467" y="1661650"/>
            <a:ext cx="4444180" cy="4237704"/>
          </a:xfrm>
          <a:prstGeom prst="rect">
            <a:avLst/>
          </a:prstGeom>
        </p:spPr>
        <p:txBody>
          <a:bodyPr>
            <a:noAutofit/>
          </a:bodyPr>
          <a:lstStyle>
            <a:lvl1pPr marL="342891" indent="-342891">
              <a:buSzPct val="100000"/>
              <a:buFont typeface="Arial" panose="020B0604020202020204" pitchFamily="34" charset="0"/>
              <a:buChar char="•"/>
              <a:defRPr sz="2000">
                <a:latin typeface="Arial Narrow" panose="020B0606020202030204" pitchFamily="34" charset="0"/>
              </a:defRPr>
            </a:lvl1pPr>
          </a:lstStyle>
          <a:p>
            <a:r>
              <a:rPr lang="de-DE" noProof="0" dirty="0" smtClean="0"/>
              <a:t>Bild</a:t>
            </a:r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7542" y="1661655"/>
            <a:ext cx="5141503" cy="423770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/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 ist ein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ypoblindtext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n ihm kann man sehen, ob alle Buchstaben da sind und wie sie aussehen. Manchmal benutzt man Worte wie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burgefont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fgenduk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er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dglove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m Schriften zu testen. Manchmal Sätze, die alle Buchstaben des Alphabets enthalten - man nennt diese Sätze »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gram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. Sehr bekannt ist dieser: The quick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wn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x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mps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zy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2000" b="0" i="0" kern="1200" noProof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</a:t>
            </a:r>
            <a:r>
              <a:rPr lang="de-DE" sz="2000" b="0" i="0" kern="1200" noProof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de-DE" sz="2000" noProof="0" dirty="0">
              <a:latin typeface="+mn-lt"/>
            </a:endParaRPr>
          </a:p>
        </p:txBody>
      </p:sp>
      <p:sp>
        <p:nvSpPr>
          <p:cNvPr id="7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dirty="0" smtClean="0"/>
              <a:t>Mastertitelformat bearbeiten</a:t>
            </a: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dirty="0" smtClean="0"/>
              <a:t>Mastertitelformat bearbeiten</a:t>
            </a:r>
            <a:endParaRPr lang="de-DE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Dies ist eine Zwischenüberschrif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9459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09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>Mastertitelformat bearbeiten</a:t>
            </a:r>
            <a:br>
              <a:rPr lang="de-DE" noProof="0" dirty="0" smtClean="0"/>
            </a:br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404" y="819161"/>
            <a:ext cx="10581661" cy="368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noProof="0" dirty="0" smtClean="0"/>
              <a:t>Dies ist eine Zwischenüberschrif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534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mat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9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437537" y="1215519"/>
            <a:ext cx="6163291" cy="3699391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891" marR="0" lvl="0" indent="-342891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hriftart: 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dline: Calibri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ießtext: Arial Narrow</a:t>
            </a:r>
            <a:endParaRPr lang="de-DE" sz="2000" kern="1200" baseline="0" noProof="0" dirty="0" smtClean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marL="342891" marR="0" lvl="0" indent="-342891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schrift: 28 pt, fett, dunkelblau: 0/64/97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wischenüberschriften und Hervorhebungen: 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 pt, fett schwarz: 0/64/97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ießtext: 20 pt, schwarz, Zeilenabstand 1,5 </a:t>
            </a:r>
            <a:endParaRPr lang="de-DE" sz="2000" kern="1200" baseline="0" noProof="0" dirty="0" smtClean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marL="342891" marR="0" lvl="0" indent="-342891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fzählungszeichen: blaue Punkte</a:t>
            </a:r>
          </a:p>
          <a:p>
            <a:pPr marL="342891" marR="0" lvl="0" indent="-342891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rben in Abstufungen (RGB-Werte):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au: dunkel: 0/64/97, mittel: 103/130/156, hell: 194/205/215</a:t>
            </a:r>
            <a:br>
              <a:rPr lang="de-DE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2000" kern="1200" baseline="0" noProof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rPr>
              <a:t>dunkel: 50/110/160, mittel: 80/140/180, hell: 175/200/215</a:t>
            </a:r>
          </a:p>
          <a:p>
            <a:pPr marL="342891" lvl="0" indent="-342891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</a:pPr>
            <a:endParaRPr lang="de-DE" sz="20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1026515" y="4914910"/>
            <a:ext cx="1135356" cy="1351153"/>
            <a:chOff x="7156367" y="2799672"/>
            <a:chExt cx="1135356" cy="1351153"/>
          </a:xfrm>
        </p:grpSpPr>
        <p:sp>
          <p:nvSpPr>
            <p:cNvPr id="6" name="Richtungspfeil 5"/>
            <p:cNvSpPr/>
            <p:nvPr userDrawn="1"/>
          </p:nvSpPr>
          <p:spPr>
            <a:xfrm rot="16200000">
              <a:off x="7446297" y="3305399"/>
              <a:ext cx="1351153" cy="339699"/>
            </a:xfrm>
            <a:prstGeom prst="homePlate">
              <a:avLst/>
            </a:prstGeom>
            <a:solidFill>
              <a:srgbClr val="C2CD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sp>
          <p:nvSpPr>
            <p:cNvPr id="7" name="Richtungspfeil 6"/>
            <p:cNvSpPr/>
            <p:nvPr userDrawn="1"/>
          </p:nvSpPr>
          <p:spPr>
            <a:xfrm rot="16200000">
              <a:off x="7079870" y="3337479"/>
              <a:ext cx="1286993" cy="339699"/>
            </a:xfrm>
            <a:prstGeom prst="homePlate">
              <a:avLst/>
            </a:prstGeom>
            <a:solidFill>
              <a:srgbClr val="6782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sp>
          <p:nvSpPr>
            <p:cNvPr id="9" name="Richtungspfeil 8"/>
            <p:cNvSpPr/>
            <p:nvPr userDrawn="1"/>
          </p:nvSpPr>
          <p:spPr>
            <a:xfrm rot="16200000">
              <a:off x="6738197" y="3394313"/>
              <a:ext cx="1174681" cy="338342"/>
            </a:xfrm>
            <a:prstGeom prst="homePlate">
              <a:avLst/>
            </a:prstGeom>
            <a:solidFill>
              <a:srgbClr val="0040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B76AFC93-8E09-43D0-9EE2-3FC62A416AE7}"/>
              </a:ext>
            </a:extLst>
          </p:cNvPr>
          <p:cNvSpPr txBox="1"/>
          <p:nvPr userDrawn="1"/>
        </p:nvSpPr>
        <p:spPr>
          <a:xfrm>
            <a:off x="7366161" y="1285818"/>
            <a:ext cx="2616040" cy="4096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891" lvl="0" indent="-342891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406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2000" kern="1200" baseline="0" noProof="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rPr>
              <a:t>Logo</a:t>
            </a:r>
            <a:endParaRPr lang="de-DE" sz="2000" kern="1200" baseline="0" noProof="0" dirty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Titelplatzhalter 7"/>
          <p:cNvSpPr>
            <a:spLocks noGrp="1"/>
          </p:cNvSpPr>
          <p:nvPr>
            <p:ph type="title" hasCustomPrompt="1"/>
          </p:nvPr>
        </p:nvSpPr>
        <p:spPr>
          <a:xfrm>
            <a:off x="389408" y="9369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Formatvorlage Schrift</a:t>
            </a:r>
            <a:endParaRPr lang="de-DE" noProof="0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2304707" y="4922938"/>
            <a:ext cx="1135356" cy="1351153"/>
            <a:chOff x="7156367" y="2799672"/>
            <a:chExt cx="1135356" cy="1351153"/>
          </a:xfrm>
        </p:grpSpPr>
        <p:sp>
          <p:nvSpPr>
            <p:cNvPr id="13" name="Richtungspfeil 12"/>
            <p:cNvSpPr/>
            <p:nvPr userDrawn="1"/>
          </p:nvSpPr>
          <p:spPr>
            <a:xfrm rot="16200000">
              <a:off x="7446297" y="3305399"/>
              <a:ext cx="1351153" cy="339699"/>
            </a:xfrm>
            <a:prstGeom prst="homePlate">
              <a:avLst/>
            </a:prstGeom>
            <a:solidFill>
              <a:srgbClr val="AFC8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sp>
          <p:nvSpPr>
            <p:cNvPr id="14" name="Richtungspfeil 13"/>
            <p:cNvSpPr/>
            <p:nvPr userDrawn="1"/>
          </p:nvSpPr>
          <p:spPr>
            <a:xfrm rot="16200000">
              <a:off x="7079870" y="3337479"/>
              <a:ext cx="1286993" cy="339699"/>
            </a:xfrm>
            <a:prstGeom prst="homePlate">
              <a:avLst/>
            </a:prstGeom>
            <a:solidFill>
              <a:srgbClr val="508C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sp>
          <p:nvSpPr>
            <p:cNvPr id="15" name="Richtungspfeil 14"/>
            <p:cNvSpPr/>
            <p:nvPr userDrawn="1"/>
          </p:nvSpPr>
          <p:spPr>
            <a:xfrm rot="16200000">
              <a:off x="6738197" y="3394313"/>
              <a:ext cx="1174681" cy="338342"/>
            </a:xfrm>
            <a:prstGeom prst="homePlate">
              <a:avLst/>
            </a:prstGeom>
            <a:solidFill>
              <a:srgbClr val="326E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4989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>
            <a:extLst>
              <a:ext uri="{FF2B5EF4-FFF2-40B4-BE49-F238E27FC236}">
                <a16:creationId xmlns:a16="http://schemas.microsoft.com/office/drawing/2014/main" id="{F2E89817-6697-4EA4-8649-9AB96DFEA9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1166020"/>
            <a:ext cx="9194312" cy="5246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="1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Hier folgt ein Aufzählung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24785CD-EEFC-463A-BB0E-0EF76412D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636ABD93-CBAD-41E3-A1D0-7E98149B36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163" y="6489702"/>
            <a:ext cx="360363" cy="368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6FAFAE-B3D1-47A6-B933-CD41C99AEDE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75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21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2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8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0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oleObject" Target="../embeddings/oleObject11.bin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25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24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vmlDrawing" Target="../drawings/vmlDrawing11.vml"/><Relationship Id="rId10" Type="http://schemas.openxmlformats.org/officeDocument/2006/relationships/slideLayout" Target="../slideLayouts/slideLayout3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586087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931" name="think-cell Slide" r:id="rId17" imgW="442" imgH="440" progId="TCLayout.ActiveDocument.1">
                  <p:embed/>
                </p:oleObj>
              </mc:Choice>
              <mc:Fallback>
                <p:oleObj name="think-cell Slide" r:id="rId17" imgW="442" imgH="44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91639" y="757656"/>
            <a:ext cx="10272156" cy="2375"/>
          </a:xfrm>
          <a:prstGeom prst="line">
            <a:avLst/>
          </a:prstGeom>
          <a:ln w="31750">
            <a:solidFill>
              <a:srgbClr val="0040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389408" y="147481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1607" y="-6870"/>
            <a:ext cx="1040023" cy="1040023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89405" y="113898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72599"/>
            <a:ext cx="12192000" cy="493031"/>
          </a:xfrm>
          <a:prstGeom prst="rect">
            <a:avLst/>
          </a:prstGeom>
        </p:spPr>
      </p:pic>
      <p:sp>
        <p:nvSpPr>
          <p:cNvPr id="16" name="Textfeld 15"/>
          <p:cNvSpPr txBox="1"/>
          <p:nvPr userDrawn="1"/>
        </p:nvSpPr>
        <p:spPr>
          <a:xfrm>
            <a:off x="11600691" y="6598809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 smtClean="0">
                <a:solidFill>
                  <a:schemeClr val="bg1"/>
                </a:solidFill>
              </a:rPr>
              <a:t>- </a:t>
            </a:r>
            <a:fld id="{E9059706-83BD-4D1B-A014-E651FF66DB54}" type="slidenum">
              <a:rPr lang="de-DE" sz="1200" b="1" smtClean="0">
                <a:solidFill>
                  <a:schemeClr val="bg1"/>
                </a:solidFill>
              </a:rPr>
              <a:t>‹#›</a:t>
            </a:fld>
            <a:r>
              <a:rPr lang="de-DE" sz="1200" b="1" dirty="0" smtClean="0">
                <a:solidFill>
                  <a:schemeClr val="bg1"/>
                </a:solidFill>
              </a:rPr>
              <a:t> -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6598809"/>
            <a:ext cx="33438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bg1"/>
                </a:solidFill>
              </a:rPr>
              <a:t>ADVANCED</a:t>
            </a:r>
            <a:r>
              <a:rPr lang="de-DE" sz="1200" b="1" baseline="0" dirty="0" smtClean="0">
                <a:solidFill>
                  <a:schemeClr val="bg1"/>
                </a:solidFill>
              </a:rPr>
              <a:t> MATERIALS – THE KEY TO PROGRESS </a:t>
            </a:r>
            <a:endParaRPr lang="de-DE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718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2" r:id="rId9"/>
    <p:sldLayoutId id="2147483674" r:id="rId10"/>
    <p:sldLayoutId id="2147483676" r:id="rId11"/>
    <p:sldLayoutId id="2147483677" r:id="rId1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06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lnSpc>
          <a:spcPct val="90000"/>
        </a:lnSpc>
        <a:spcBef>
          <a:spcPts val="10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800080" indent="-342891" algn="l" defTabSz="914377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257269" indent="-342891" algn="l" defTabSz="914377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714457" indent="-342891" algn="l" defTabSz="914377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171646" indent="-342891" algn="l" defTabSz="914377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14956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100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91638" y="757646"/>
            <a:ext cx="10272156" cy="2375"/>
          </a:xfrm>
          <a:prstGeom prst="line">
            <a:avLst/>
          </a:prstGeom>
          <a:ln w="31750">
            <a:solidFill>
              <a:srgbClr val="0040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389405" y="147478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1600" y="-6870"/>
            <a:ext cx="1040023" cy="1040023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89405" y="113898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72589"/>
            <a:ext cx="12192000" cy="493031"/>
          </a:xfrm>
          <a:prstGeom prst="rect">
            <a:avLst/>
          </a:prstGeom>
        </p:spPr>
      </p:pic>
      <p:sp>
        <p:nvSpPr>
          <p:cNvPr id="16" name="Textfeld 15"/>
          <p:cNvSpPr txBox="1"/>
          <p:nvPr userDrawn="1"/>
        </p:nvSpPr>
        <p:spPr>
          <a:xfrm>
            <a:off x="11600684" y="6598800"/>
            <a:ext cx="591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 smtClean="0">
                <a:solidFill>
                  <a:schemeClr val="bg1"/>
                </a:solidFill>
              </a:rPr>
              <a:t>- </a:t>
            </a:r>
            <a:fld id="{E9059706-83BD-4D1B-A014-E651FF66DB54}" type="slidenum">
              <a:rPr lang="de-DE" sz="1200" b="1" smtClean="0">
                <a:solidFill>
                  <a:schemeClr val="bg1"/>
                </a:solidFill>
              </a:rPr>
              <a:t>‹#›</a:t>
            </a:fld>
            <a:r>
              <a:rPr lang="de-DE" sz="1200" b="1" dirty="0" smtClean="0">
                <a:solidFill>
                  <a:schemeClr val="bg1"/>
                </a:solidFill>
              </a:rPr>
              <a:t> -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6598800"/>
            <a:ext cx="31431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bg1"/>
                </a:solidFill>
              </a:rPr>
              <a:t>DER FORTSCHRITT BEGINNT BEIM WERKSTOFF</a:t>
            </a:r>
            <a:endParaRPr lang="de-DE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789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06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1717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1273" y="1479177"/>
            <a:ext cx="10529455" cy="44375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20" rIns="1828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103" name="Rectangle 145"/>
          <p:cNvSpPr>
            <a:spLocks noGrp="1" noChangeArrowheads="1"/>
          </p:cNvSpPr>
          <p:nvPr>
            <p:ph type="title"/>
          </p:nvPr>
        </p:nvSpPr>
        <p:spPr bwMode="auto">
          <a:xfrm>
            <a:off x="831273" y="470647"/>
            <a:ext cx="9482667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70" name="Line 146"/>
          <p:cNvSpPr>
            <a:spLocks noChangeShapeType="1"/>
          </p:cNvSpPr>
          <p:nvPr/>
        </p:nvSpPr>
        <p:spPr bwMode="auto">
          <a:xfrm>
            <a:off x="831274" y="941294"/>
            <a:ext cx="9506977" cy="0"/>
          </a:xfrm>
          <a:prstGeom prst="line">
            <a:avLst/>
          </a:prstGeom>
          <a:noFill/>
          <a:ln w="31750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588" dirty="0"/>
          </a:p>
        </p:txBody>
      </p:sp>
      <p:sp>
        <p:nvSpPr>
          <p:cNvPr id="11" name="ClientLogo" hidden="1"/>
          <p:cNvSpPr/>
          <p:nvPr/>
        </p:nvSpPr>
        <p:spPr bwMode="auto">
          <a:xfrm>
            <a:off x="8312733" y="6248849"/>
            <a:ext cx="3048000" cy="484094"/>
          </a:xfrm>
          <a:prstGeom prst="rect">
            <a:avLst/>
          </a:prstGeom>
          <a:solidFill>
            <a:srgbClr val="FEDF87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6136" bIns="16136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068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706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pitchFamily="34" charset="0"/>
                <a:cs typeface="Arial" pitchFamily="34" charset="0"/>
              </a:rPr>
              <a:t>PresBuilder  Client Logo Placeholder </a:t>
            </a:r>
            <a:r>
              <a:rPr kumimoji="0" lang="en-US" sz="706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pitchFamily="34" charset="0"/>
                <a:cs typeface="Arial" pitchFamily="34" charset="0"/>
              </a:rPr>
              <a:t>– </a:t>
            </a:r>
            <a:br>
              <a:rPr kumimoji="0" lang="en-US" sz="706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pitchFamily="34" charset="0"/>
                <a:cs typeface="Arial" pitchFamily="34" charset="0"/>
              </a:rPr>
            </a:br>
            <a:r>
              <a:rPr kumimoji="0" lang="en-US" sz="706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pitchFamily="34" charset="0"/>
                <a:cs typeface="Arial" pitchFamily="34" charset="0"/>
              </a:rPr>
              <a:t>Delete this box if you see it on a slide, but DO NOT REMOVE this box from the slide layout. </a:t>
            </a:r>
          </a:p>
        </p:txBody>
      </p:sp>
      <p:pic>
        <p:nvPicPr>
          <p:cNvPr id="16" name="Grafik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6429697"/>
            <a:ext cx="12192000" cy="435027"/>
          </a:xfrm>
          <a:prstGeom prst="rect">
            <a:avLst/>
          </a:prstGeom>
        </p:spPr>
      </p:pic>
      <p:sp>
        <p:nvSpPr>
          <p:cNvPr id="17" name="Rechteck 12"/>
          <p:cNvSpPr/>
          <p:nvPr userDrawn="1"/>
        </p:nvSpPr>
        <p:spPr>
          <a:xfrm>
            <a:off x="408061" y="6613589"/>
            <a:ext cx="2552302" cy="255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1059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DVANCED</a:t>
            </a:r>
            <a:r>
              <a:rPr lang="de-DE" sz="1059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MAGNETIC SOLUTIONS</a:t>
            </a:r>
            <a:endParaRPr lang="de-DE" sz="1059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79"/>
          <p:cNvSpPr>
            <a:spLocks noChangeArrowheads="1"/>
          </p:cNvSpPr>
          <p:nvPr userDrawn="1"/>
        </p:nvSpPr>
        <p:spPr bwMode="auto">
          <a:xfrm>
            <a:off x="-1977743" y="321969"/>
            <a:ext cx="855326" cy="651342"/>
          </a:xfrm>
          <a:prstGeom prst="rect">
            <a:avLst/>
          </a:prstGeom>
          <a:solidFill>
            <a:srgbClr val="67829C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103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30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56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20" name="Rectangle 80"/>
          <p:cNvSpPr>
            <a:spLocks noChangeArrowheads="1"/>
          </p:cNvSpPr>
          <p:nvPr userDrawn="1"/>
        </p:nvSpPr>
        <p:spPr bwMode="auto">
          <a:xfrm>
            <a:off x="-943544" y="310967"/>
            <a:ext cx="855325" cy="652743"/>
          </a:xfrm>
          <a:prstGeom prst="rect">
            <a:avLst/>
          </a:prstGeom>
          <a:solidFill>
            <a:srgbClr val="C2CDD7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tx1"/>
                </a:solidFill>
              </a:rPr>
              <a:t>194</a:t>
            </a:r>
          </a:p>
          <a:p>
            <a:r>
              <a:rPr lang="en-US" sz="1588" b="1" dirty="0" smtClean="0">
                <a:solidFill>
                  <a:schemeClr val="tx1"/>
                </a:solidFill>
              </a:rPr>
              <a:t>205</a:t>
            </a:r>
          </a:p>
          <a:p>
            <a:r>
              <a:rPr lang="en-US" sz="1588" b="1" dirty="0" smtClean="0">
                <a:solidFill>
                  <a:schemeClr val="tx1"/>
                </a:solidFill>
              </a:rPr>
              <a:t>215</a:t>
            </a:r>
            <a:endParaRPr lang="en-US" sz="1588" b="1" dirty="0">
              <a:solidFill>
                <a:schemeClr val="tx1"/>
              </a:solidFill>
            </a:endParaRPr>
          </a:p>
        </p:txBody>
      </p:sp>
      <p:sp>
        <p:nvSpPr>
          <p:cNvPr id="21" name="Rectangle 84"/>
          <p:cNvSpPr>
            <a:spLocks noChangeArrowheads="1"/>
          </p:cNvSpPr>
          <p:nvPr userDrawn="1"/>
        </p:nvSpPr>
        <p:spPr bwMode="auto">
          <a:xfrm>
            <a:off x="-1977743" y="1298264"/>
            <a:ext cx="855326" cy="652743"/>
          </a:xfrm>
          <a:prstGeom prst="rect">
            <a:avLst/>
          </a:prstGeom>
          <a:solidFill>
            <a:srgbClr val="004061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64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97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22" name="Rectangle 85"/>
          <p:cNvSpPr>
            <a:spLocks noChangeArrowheads="1"/>
          </p:cNvSpPr>
          <p:nvPr userDrawn="1"/>
        </p:nvSpPr>
        <p:spPr bwMode="auto">
          <a:xfrm>
            <a:off x="-1977741" y="3208750"/>
            <a:ext cx="855325" cy="652743"/>
          </a:xfrm>
          <a:prstGeom prst="rect">
            <a:avLst/>
          </a:prstGeom>
          <a:solidFill>
            <a:srgbClr val="7F6EA5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127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10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65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23" name="Rectangle 87"/>
          <p:cNvSpPr>
            <a:spLocks noChangeArrowheads="1"/>
          </p:cNvSpPr>
          <p:nvPr userDrawn="1"/>
        </p:nvSpPr>
        <p:spPr bwMode="auto">
          <a:xfrm>
            <a:off x="-1977743" y="4097541"/>
            <a:ext cx="855326" cy="651342"/>
          </a:xfrm>
          <a:prstGeom prst="rect">
            <a:avLst/>
          </a:prstGeom>
          <a:solidFill>
            <a:srgbClr val="5C92C4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92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46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96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24" name="Rectangle 88"/>
          <p:cNvSpPr>
            <a:spLocks noChangeArrowheads="1"/>
          </p:cNvSpPr>
          <p:nvPr userDrawn="1"/>
        </p:nvSpPr>
        <p:spPr bwMode="auto">
          <a:xfrm>
            <a:off x="-943545" y="4098942"/>
            <a:ext cx="855326" cy="649941"/>
          </a:xfrm>
          <a:prstGeom prst="rect">
            <a:avLst/>
          </a:prstGeom>
          <a:solidFill>
            <a:srgbClr val="404040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64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64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64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25" name="Rectangle 89"/>
          <p:cNvSpPr>
            <a:spLocks noChangeArrowheads="1"/>
          </p:cNvSpPr>
          <p:nvPr userDrawn="1"/>
        </p:nvSpPr>
        <p:spPr bwMode="auto">
          <a:xfrm>
            <a:off x="-1977743" y="2232676"/>
            <a:ext cx="855326" cy="652743"/>
          </a:xfrm>
          <a:prstGeom prst="rect">
            <a:avLst/>
          </a:prstGeom>
          <a:solidFill>
            <a:srgbClr val="79C17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121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93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21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26" name="Rectangle 90"/>
          <p:cNvSpPr>
            <a:spLocks noChangeArrowheads="1"/>
          </p:cNvSpPr>
          <p:nvPr userDrawn="1"/>
        </p:nvSpPr>
        <p:spPr bwMode="auto">
          <a:xfrm>
            <a:off x="-943544" y="1298264"/>
            <a:ext cx="855325" cy="652743"/>
          </a:xfrm>
          <a:prstGeom prst="rect">
            <a:avLst/>
          </a:prstGeom>
          <a:solidFill>
            <a:srgbClr val="18AD4B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24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73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75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27" name="Rectangle 92"/>
          <p:cNvSpPr>
            <a:spLocks noChangeArrowheads="1"/>
          </p:cNvSpPr>
          <p:nvPr userDrawn="1"/>
        </p:nvSpPr>
        <p:spPr bwMode="auto">
          <a:xfrm>
            <a:off x="-944391" y="3210150"/>
            <a:ext cx="857019" cy="651342"/>
          </a:xfrm>
          <a:prstGeom prst="rect">
            <a:avLst/>
          </a:prstGeom>
          <a:solidFill>
            <a:srgbClr val="D75A4A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215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90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74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28" name="Rectangle 94"/>
          <p:cNvSpPr>
            <a:spLocks noChangeArrowheads="1"/>
          </p:cNvSpPr>
          <p:nvPr userDrawn="1"/>
        </p:nvSpPr>
        <p:spPr bwMode="auto">
          <a:xfrm>
            <a:off x="-943545" y="2213066"/>
            <a:ext cx="855326" cy="672353"/>
          </a:xfrm>
          <a:prstGeom prst="rect">
            <a:avLst/>
          </a:prstGeom>
          <a:solidFill>
            <a:srgbClr val="3E296D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62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41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09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29" name="Rectangle 87"/>
          <p:cNvSpPr>
            <a:spLocks noChangeArrowheads="1"/>
          </p:cNvSpPr>
          <p:nvPr userDrawn="1"/>
        </p:nvSpPr>
        <p:spPr bwMode="auto">
          <a:xfrm>
            <a:off x="-1977743" y="4959793"/>
            <a:ext cx="855326" cy="651342"/>
          </a:xfrm>
          <a:prstGeom prst="rect">
            <a:avLst/>
          </a:prstGeom>
          <a:solidFill>
            <a:srgbClr val="939498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bg1"/>
                </a:solidFill>
              </a:rPr>
              <a:t>147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48</a:t>
            </a:r>
          </a:p>
          <a:p>
            <a:r>
              <a:rPr lang="en-US" sz="1588" b="1" dirty="0" smtClean="0">
                <a:solidFill>
                  <a:schemeClr val="bg1"/>
                </a:solidFill>
              </a:rPr>
              <a:t>152</a:t>
            </a:r>
            <a:endParaRPr lang="en-US" sz="1588" b="1" dirty="0">
              <a:solidFill>
                <a:schemeClr val="bg1"/>
              </a:solidFill>
            </a:endParaRPr>
          </a:p>
        </p:txBody>
      </p:sp>
      <p:sp>
        <p:nvSpPr>
          <p:cNvPr id="30" name="Rectangle 88"/>
          <p:cNvSpPr>
            <a:spLocks noChangeArrowheads="1"/>
          </p:cNvSpPr>
          <p:nvPr userDrawn="1"/>
        </p:nvSpPr>
        <p:spPr bwMode="auto">
          <a:xfrm>
            <a:off x="-943545" y="4961195"/>
            <a:ext cx="855326" cy="649941"/>
          </a:xfrm>
          <a:prstGeom prst="rect">
            <a:avLst/>
          </a:prstGeom>
          <a:solidFill>
            <a:srgbClr val="C2CDD7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r>
              <a:rPr lang="en-US" sz="1588" b="1" dirty="0" smtClean="0">
                <a:solidFill>
                  <a:schemeClr val="tx1"/>
                </a:solidFill>
              </a:rPr>
              <a:t>194</a:t>
            </a:r>
          </a:p>
          <a:p>
            <a:r>
              <a:rPr lang="en-US" sz="1588" b="1" dirty="0" smtClean="0">
                <a:solidFill>
                  <a:schemeClr val="tx1"/>
                </a:solidFill>
              </a:rPr>
              <a:t>205</a:t>
            </a:r>
          </a:p>
          <a:p>
            <a:r>
              <a:rPr lang="en-US" sz="1588" b="1" dirty="0" smtClean="0">
                <a:solidFill>
                  <a:schemeClr val="tx1"/>
                </a:solidFill>
              </a:rPr>
              <a:t>215</a:t>
            </a:r>
            <a:endParaRPr lang="en-US" sz="1588" b="1" dirty="0">
              <a:solidFill>
                <a:schemeClr val="tx1"/>
              </a:solidFill>
            </a:endParaRPr>
          </a:p>
        </p:txBody>
      </p:sp>
      <p:sp>
        <p:nvSpPr>
          <p:cNvPr id="3" name="plhSlideNumber"/>
          <p:cNvSpPr>
            <a:spLocks noGrp="1"/>
          </p:cNvSpPr>
          <p:nvPr>
            <p:ph type="sldNum" sz="quarter" idx="4"/>
          </p:nvPr>
        </p:nvSpPr>
        <p:spPr>
          <a:xfrm>
            <a:off x="11251047" y="6631081"/>
            <a:ext cx="940954" cy="226919"/>
          </a:xfrm>
          <a:prstGeom prst="rect">
            <a:avLst/>
          </a:prstGeom>
        </p:spPr>
        <p:txBody>
          <a:bodyPr/>
          <a:lstStyle>
            <a:lvl1pPr>
              <a:defRPr lang="en-US" sz="1059" b="1" smtClean="0">
                <a:solidFill>
                  <a:schemeClr val="bg1"/>
                </a:solidFill>
                <a:latin typeface="+mn-lt"/>
              </a:defRPr>
            </a:lvl1pPr>
          </a:lstStyle>
          <a:p>
            <a:fld id="{02B6C792-A281-4584-91B0-DD45087EFEE9}" type="slidenum">
              <a:rPr smtClean="0"/>
              <a:pPr/>
              <a:t>‹#›</a:t>
            </a:fld>
            <a:endParaRPr dirty="0">
              <a:solidFill>
                <a:srgbClr val="FFFF00"/>
              </a:solidFill>
            </a:endParaRP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673" y="484397"/>
            <a:ext cx="997527" cy="471219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11497542" y="6630398"/>
            <a:ext cx="44884" cy="255326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/>
            <a:r>
              <a:rPr lang="en-US" sz="1059" b="1" dirty="0" smtClean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11881428" y="6630398"/>
            <a:ext cx="44884" cy="255326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l"/>
            <a:r>
              <a:rPr lang="en-US" sz="1059" b="1" dirty="0" smtClean="0">
                <a:solidFill>
                  <a:schemeClr val="bg1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235620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93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6" b="1">
          <a:solidFill>
            <a:schemeClr val="accent3"/>
          </a:solidFill>
          <a:latin typeface="+mj-lt"/>
          <a:ea typeface="+mj-ea"/>
          <a:cs typeface="+mj-cs"/>
        </a:defRPr>
      </a:lvl1pPr>
      <a:lvl2pPr algn="l" defTabSz="8993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7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8993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7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8993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7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8993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7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03433" algn="l" defTabSz="8993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7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06867" algn="l" defTabSz="8993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7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210300" algn="l" defTabSz="8993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7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613733" algn="l" defTabSz="8993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7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01717" indent="-201717" algn="l" defTabSz="899320" rtl="0" eaLnBrk="1" fontAlgn="base" hangingPunct="1">
        <a:lnSpc>
          <a:spcPct val="110000"/>
        </a:lnSpc>
        <a:spcBef>
          <a:spcPts val="889"/>
        </a:spcBef>
        <a:spcAft>
          <a:spcPct val="0"/>
        </a:spcAft>
        <a:buClr>
          <a:schemeClr val="accent3"/>
        </a:buClr>
        <a:buSzPct val="100000"/>
        <a:buFont typeface="Wingdings 2" panose="05020102010507070707" pitchFamily="18" charset="2"/>
        <a:buChar char=""/>
        <a:defRPr lang="en-US" sz="1235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03433" indent="-200316" algn="l" defTabSz="899320" rtl="0" eaLnBrk="1" fontAlgn="base" hangingPunct="1">
        <a:lnSpc>
          <a:spcPct val="110000"/>
        </a:lnSpc>
        <a:spcBef>
          <a:spcPts val="296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−"/>
        <a:defRPr lang="en-US" sz="1235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05150" indent="-200316" algn="l" defTabSz="899320" rtl="0" eaLnBrk="1" fontAlgn="base" hangingPunct="1">
        <a:lnSpc>
          <a:spcPct val="110000"/>
        </a:lnSpc>
        <a:spcBef>
          <a:spcPts val="296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235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5466" indent="-198915" algn="l" defTabSz="899320" rtl="0" eaLnBrk="1" fontAlgn="base" hangingPunct="1">
        <a:lnSpc>
          <a:spcPct val="110000"/>
        </a:lnSpc>
        <a:spcBef>
          <a:spcPts val="296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235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583" indent="-201717" algn="l" defTabSz="899320" rtl="0" eaLnBrk="1" fontAlgn="base" hangingPunct="1">
        <a:lnSpc>
          <a:spcPct val="110000"/>
        </a:lnSpc>
        <a:spcBef>
          <a:spcPts val="296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235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13101" indent="-201717" algn="l" defTabSz="899320" rtl="0" eaLnBrk="1" fontAlgn="base" hangingPunct="1">
        <a:lnSpc>
          <a:spcPct val="110000"/>
        </a:lnSpc>
        <a:spcBef>
          <a:spcPts val="296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235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409215" indent="-196113" algn="l" defTabSz="899320" rtl="0" eaLnBrk="1" fontAlgn="base" hangingPunct="1">
        <a:lnSpc>
          <a:spcPct val="110000"/>
        </a:lnSpc>
        <a:spcBef>
          <a:spcPts val="296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235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613733" indent="-204518" algn="l" defTabSz="899320" rtl="0" eaLnBrk="1" fontAlgn="base" hangingPunct="1">
        <a:lnSpc>
          <a:spcPct val="110000"/>
        </a:lnSpc>
        <a:spcBef>
          <a:spcPts val="296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235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1815450" indent="-201717" algn="l" defTabSz="899320" rtl="0" eaLnBrk="1" fontAlgn="base" hangingPunct="1">
        <a:lnSpc>
          <a:spcPct val="110000"/>
        </a:lnSpc>
        <a:spcBef>
          <a:spcPts val="296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235" baseline="0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6867" rtl="0" eaLnBrk="1" latinLnBrk="0" hangingPunct="1">
        <a:defRPr sz="1059" kern="1200">
          <a:solidFill>
            <a:schemeClr val="tx1"/>
          </a:solidFill>
          <a:latin typeface="+mn-lt"/>
          <a:ea typeface="+mn-ea"/>
          <a:cs typeface="+mn-cs"/>
        </a:defRPr>
      </a:lvl1pPr>
      <a:lvl2pPr marL="403433" algn="l" defTabSz="806867" rtl="0" eaLnBrk="1" latinLnBrk="0" hangingPunct="1">
        <a:defRPr sz="1059" kern="1200">
          <a:solidFill>
            <a:schemeClr val="tx1"/>
          </a:solidFill>
          <a:latin typeface="+mn-lt"/>
          <a:ea typeface="+mn-ea"/>
          <a:cs typeface="+mn-cs"/>
        </a:defRPr>
      </a:lvl2pPr>
      <a:lvl3pPr marL="806867" algn="l" defTabSz="806867" rtl="0" eaLnBrk="1" latinLnBrk="0" hangingPunct="1">
        <a:defRPr sz="1059" kern="1200">
          <a:solidFill>
            <a:schemeClr val="tx1"/>
          </a:solidFill>
          <a:latin typeface="+mn-lt"/>
          <a:ea typeface="+mn-ea"/>
          <a:cs typeface="+mn-cs"/>
        </a:defRPr>
      </a:lvl3pPr>
      <a:lvl4pPr marL="1210300" algn="l" defTabSz="806867" rtl="0" eaLnBrk="1" latinLnBrk="0" hangingPunct="1">
        <a:defRPr sz="1059" kern="1200">
          <a:solidFill>
            <a:schemeClr val="tx1"/>
          </a:solidFill>
          <a:latin typeface="+mn-lt"/>
          <a:ea typeface="+mn-ea"/>
          <a:cs typeface="+mn-cs"/>
        </a:defRPr>
      </a:lvl4pPr>
      <a:lvl5pPr marL="1613733" algn="l" defTabSz="806867" rtl="0" eaLnBrk="1" latinLnBrk="0" hangingPunct="1">
        <a:defRPr sz="1059" kern="1200">
          <a:solidFill>
            <a:schemeClr val="tx1"/>
          </a:solidFill>
          <a:latin typeface="+mn-lt"/>
          <a:ea typeface="+mn-ea"/>
          <a:cs typeface="+mn-cs"/>
        </a:defRPr>
      </a:lvl5pPr>
      <a:lvl6pPr marL="2017166" algn="l" defTabSz="806867" rtl="0" eaLnBrk="1" latinLnBrk="0" hangingPunct="1">
        <a:defRPr sz="1059" kern="1200">
          <a:solidFill>
            <a:schemeClr val="tx1"/>
          </a:solidFill>
          <a:latin typeface="+mn-lt"/>
          <a:ea typeface="+mn-ea"/>
          <a:cs typeface="+mn-cs"/>
        </a:defRPr>
      </a:lvl6pPr>
      <a:lvl7pPr marL="2420600" algn="l" defTabSz="806867" rtl="0" eaLnBrk="1" latinLnBrk="0" hangingPunct="1">
        <a:defRPr sz="1059" kern="1200">
          <a:solidFill>
            <a:schemeClr val="tx1"/>
          </a:solidFill>
          <a:latin typeface="+mn-lt"/>
          <a:ea typeface="+mn-ea"/>
          <a:cs typeface="+mn-cs"/>
        </a:defRPr>
      </a:lvl7pPr>
      <a:lvl8pPr marL="2824033" algn="l" defTabSz="806867" rtl="0" eaLnBrk="1" latinLnBrk="0" hangingPunct="1">
        <a:defRPr sz="1059" kern="1200">
          <a:solidFill>
            <a:schemeClr val="tx1"/>
          </a:solidFill>
          <a:latin typeface="+mn-lt"/>
          <a:ea typeface="+mn-ea"/>
          <a:cs typeface="+mn-cs"/>
        </a:defRPr>
      </a:lvl8pPr>
      <a:lvl9pPr marL="3227466" algn="l" defTabSz="806867" rtl="0" eaLnBrk="1" latinLnBrk="0" hangingPunct="1">
        <a:defRPr sz="10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67" name="think-cell Slide" r:id="rId18" imgW="442" imgH="440" progId="TCLayout.ActiveDocument.1">
                  <p:embed/>
                </p:oleObj>
              </mc:Choice>
              <mc:Fallback>
                <p:oleObj name="think-cell Slide" r:id="rId18" imgW="442" imgH="440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91639" y="757656"/>
            <a:ext cx="10272156" cy="2375"/>
          </a:xfrm>
          <a:prstGeom prst="line">
            <a:avLst/>
          </a:prstGeom>
          <a:ln w="31750">
            <a:solidFill>
              <a:srgbClr val="0040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389408" y="147481"/>
            <a:ext cx="10581661" cy="6292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noProof="0" dirty="0" smtClean="0"/>
              <a:t>Mastertitelformat bearbeiten</a:t>
            </a:r>
            <a:endParaRPr lang="de-DE" noProof="0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1607" y="-6870"/>
            <a:ext cx="1040023" cy="1040023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89405" y="113898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72599"/>
            <a:ext cx="12192000" cy="493031"/>
          </a:xfrm>
          <a:prstGeom prst="rect">
            <a:avLst/>
          </a:prstGeom>
        </p:spPr>
      </p:pic>
      <p:sp>
        <p:nvSpPr>
          <p:cNvPr id="16" name="Textfeld 15"/>
          <p:cNvSpPr txBox="1"/>
          <p:nvPr userDrawn="1"/>
        </p:nvSpPr>
        <p:spPr>
          <a:xfrm>
            <a:off x="11600691" y="6598809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 smtClean="0">
                <a:solidFill>
                  <a:schemeClr val="bg1"/>
                </a:solidFill>
              </a:rPr>
              <a:t>- </a:t>
            </a:r>
            <a:fld id="{E9059706-83BD-4D1B-A014-E651FF66DB54}" type="slidenum">
              <a:rPr lang="de-DE" sz="1200" b="1" smtClean="0">
                <a:solidFill>
                  <a:schemeClr val="bg1"/>
                </a:solidFill>
              </a:rPr>
              <a:t>‹#›</a:t>
            </a:fld>
            <a:r>
              <a:rPr lang="de-DE" sz="1200" b="1" dirty="0" smtClean="0">
                <a:solidFill>
                  <a:schemeClr val="bg1"/>
                </a:solidFill>
              </a:rPr>
              <a:t> -</a:t>
            </a:r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6598809"/>
            <a:ext cx="33438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de-DE" sz="1200" b="1" dirty="0" smtClean="0">
                <a:solidFill>
                  <a:schemeClr val="bg1"/>
                </a:solidFill>
              </a:rPr>
              <a:t>ADVANCED</a:t>
            </a:r>
            <a:r>
              <a:rPr lang="de-DE" sz="1200" b="1" baseline="0" dirty="0" smtClean="0">
                <a:solidFill>
                  <a:schemeClr val="bg1"/>
                </a:solidFill>
              </a:rPr>
              <a:t> MATERIALS – THE KEY TO PROGRESS </a:t>
            </a:r>
            <a:endParaRPr lang="de-DE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428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06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lnSpc>
          <a:spcPct val="90000"/>
        </a:lnSpc>
        <a:spcBef>
          <a:spcPts val="10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800080" indent="-342891" algn="l" defTabSz="914377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257269" indent="-342891" algn="l" defTabSz="914377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714457" indent="-342891" algn="l" defTabSz="914377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171646" indent="-342891" algn="l" defTabSz="914377" rtl="0" eaLnBrk="1" latinLnBrk="0" hangingPunct="1">
        <a:lnSpc>
          <a:spcPct val="90000"/>
        </a:lnSpc>
        <a:spcBef>
          <a:spcPts val="500"/>
        </a:spcBef>
        <a:buClr>
          <a:srgbClr val="004061"/>
        </a:buClr>
        <a:buSzPct val="100000"/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77633" y="3383924"/>
            <a:ext cx="10443899" cy="1126896"/>
          </a:xfrm>
        </p:spPr>
        <p:txBody>
          <a:bodyPr/>
          <a:lstStyle/>
          <a:p>
            <a:r>
              <a:rPr lang="es-ES" dirty="0" smtClean="0"/>
              <a:t>TESTING &amp; STANDARDIZATION PANEL SESSION:</a:t>
            </a:r>
            <a:br>
              <a:rPr lang="es-ES" dirty="0" smtClean="0"/>
            </a:br>
            <a:r>
              <a:rPr lang="es-ES" dirty="0" smtClean="0"/>
              <a:t>SPEC PROPOSAL FOR </a:t>
            </a:r>
            <a:r>
              <a:rPr lang="es-ES" dirty="0" smtClean="0"/>
              <a:t>NANOCRYSTALLINE CMC 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359699" y="4871008"/>
            <a:ext cx="5476568" cy="606168"/>
          </a:xfrm>
        </p:spPr>
        <p:txBody>
          <a:bodyPr/>
          <a:lstStyle/>
          <a:p>
            <a:r>
              <a:rPr lang="es-ES" sz="2800" dirty="0" smtClean="0"/>
              <a:t>José Gató</a:t>
            </a:r>
          </a:p>
          <a:p>
            <a:endParaRPr lang="es-ES" dirty="0"/>
          </a:p>
          <a:p>
            <a:r>
              <a:rPr lang="es-ES" dirty="0" err="1" smtClean="0"/>
              <a:t>August</a:t>
            </a:r>
            <a:r>
              <a:rPr lang="es-ES" dirty="0" smtClean="0"/>
              <a:t>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516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NOCRYSTALLINE IS THE MATERIAL FOR FUTURE ELECTRIFIC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Nanocrystalline</a:t>
            </a:r>
            <a:r>
              <a:rPr lang="en-US" dirty="0" smtClean="0"/>
              <a:t> material vs Ferrite</a:t>
            </a:r>
            <a:endParaRPr lang="en-US" dirty="0"/>
          </a:p>
        </p:txBody>
      </p:sp>
      <p:graphicFrame>
        <p:nvGraphicFramePr>
          <p:cNvPr id="4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4419531"/>
              </p:ext>
            </p:extLst>
          </p:nvPr>
        </p:nvGraphicFramePr>
        <p:xfrm>
          <a:off x="2210644" y="1489669"/>
          <a:ext cx="6939179" cy="474877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709923">
                  <a:extLst>
                    <a:ext uri="{9D8B030D-6E8A-4147-A177-3AD203B41FA5}">
                      <a16:colId xmlns:a16="http://schemas.microsoft.com/office/drawing/2014/main" val="595238564"/>
                    </a:ext>
                  </a:extLst>
                </a:gridCol>
                <a:gridCol w="2179777">
                  <a:extLst>
                    <a:ext uri="{9D8B030D-6E8A-4147-A177-3AD203B41FA5}">
                      <a16:colId xmlns:a16="http://schemas.microsoft.com/office/drawing/2014/main" val="3315588169"/>
                    </a:ext>
                  </a:extLst>
                </a:gridCol>
                <a:gridCol w="2049479">
                  <a:extLst>
                    <a:ext uri="{9D8B030D-6E8A-4147-A177-3AD203B41FA5}">
                      <a16:colId xmlns:a16="http://schemas.microsoft.com/office/drawing/2014/main" val="1819348409"/>
                    </a:ext>
                  </a:extLst>
                </a:gridCol>
              </a:tblGrid>
              <a:tr h="787336">
                <a:tc>
                  <a:txBody>
                    <a:bodyPr/>
                    <a:lstStyle/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800" dirty="0">
                          <a:effectLst/>
                        </a:rPr>
                        <a:t>Material</a:t>
                      </a:r>
                      <a:endParaRPr lang="de-DE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800" dirty="0" err="1">
                          <a:effectLst/>
                        </a:rPr>
                        <a:t>Nanocrystalline</a:t>
                      </a:r>
                      <a:endParaRPr lang="de-DE" sz="1800" dirty="0">
                        <a:effectLst/>
                      </a:endParaRPr>
                    </a:p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800" dirty="0">
                          <a:effectLst/>
                        </a:rPr>
                        <a:t>(VITROPERM</a:t>
                      </a:r>
                      <a:r>
                        <a:rPr lang="de-DE" sz="1800" baseline="30000" dirty="0">
                          <a:effectLst/>
                        </a:rPr>
                        <a:t>®</a:t>
                      </a:r>
                      <a:r>
                        <a:rPr lang="de-DE" sz="1800" dirty="0">
                          <a:effectLst/>
                        </a:rPr>
                        <a:t>)</a:t>
                      </a:r>
                      <a:endParaRPr lang="de-DE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600" dirty="0">
                          <a:effectLst/>
                        </a:rPr>
                        <a:t>Ferrite</a:t>
                      </a:r>
                      <a:endParaRPr lang="de-DE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05377733"/>
                  </a:ext>
                </a:extLst>
              </a:tr>
              <a:tr h="274010">
                <a:tc>
                  <a:txBody>
                    <a:bodyPr/>
                    <a:lstStyle/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Material </a:t>
                      </a:r>
                      <a:r>
                        <a:rPr lang="de-DE" sz="1400" dirty="0" err="1">
                          <a:effectLst/>
                        </a:rPr>
                        <a:t>base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~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>
                          <a:effectLst/>
                        </a:rPr>
                        <a:t>70% </a:t>
                      </a:r>
                      <a:r>
                        <a:rPr lang="de-DE" sz="1400" dirty="0" err="1">
                          <a:effectLst/>
                        </a:rPr>
                        <a:t>Fe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 err="1">
                          <a:effectLst/>
                        </a:rPr>
                        <a:t>MnZn</a:t>
                      </a:r>
                      <a:r>
                        <a:rPr lang="de-DE" sz="1400" dirty="0">
                          <a:effectLst/>
                        </a:rPr>
                        <a:t> (</a:t>
                      </a:r>
                      <a:r>
                        <a:rPr lang="de-DE" sz="1400" dirty="0" err="1">
                          <a:effectLst/>
                        </a:rPr>
                        <a:t>NiZn</a:t>
                      </a:r>
                      <a:r>
                        <a:rPr lang="de-DE" sz="1400" dirty="0">
                          <a:effectLst/>
                        </a:rPr>
                        <a:t>)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676221"/>
                  </a:ext>
                </a:extLst>
              </a:tr>
              <a:tr h="274010">
                <a:tc>
                  <a:txBody>
                    <a:bodyPr/>
                    <a:lstStyle/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 err="1">
                          <a:effectLst/>
                        </a:rPr>
                        <a:t>Coercivity</a:t>
                      </a:r>
                      <a:r>
                        <a:rPr lang="de-DE" sz="1400" dirty="0">
                          <a:effectLst/>
                        </a:rPr>
                        <a:t> </a:t>
                      </a:r>
                      <a:r>
                        <a:rPr lang="de-DE" sz="1400" dirty="0" err="1">
                          <a:effectLst/>
                        </a:rPr>
                        <a:t>H</a:t>
                      </a:r>
                      <a:r>
                        <a:rPr lang="de-DE" sz="1400" baseline="-25000" dirty="0" err="1">
                          <a:effectLst/>
                        </a:rPr>
                        <a:t>c</a:t>
                      </a:r>
                      <a:r>
                        <a:rPr lang="de-DE" sz="1400" dirty="0">
                          <a:effectLst/>
                        </a:rPr>
                        <a:t> [A/m]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&lt;3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5....60 (....2000)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4559956"/>
                  </a:ext>
                </a:extLst>
              </a:tr>
              <a:tr h="822028">
                <a:tc>
                  <a:txBody>
                    <a:bodyPr/>
                    <a:lstStyle/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 err="1">
                          <a:effectLst/>
                        </a:rPr>
                        <a:t>Losses</a:t>
                      </a:r>
                      <a:r>
                        <a:rPr lang="de-DE" sz="1400" dirty="0">
                          <a:effectLst/>
                        </a:rPr>
                        <a:t> </a:t>
                      </a:r>
                      <a:r>
                        <a:rPr lang="de-DE" sz="1400" dirty="0" err="1">
                          <a:effectLst/>
                        </a:rPr>
                        <a:t>P</a:t>
                      </a:r>
                      <a:r>
                        <a:rPr lang="de-DE" sz="1400" baseline="-25000" dirty="0" err="1">
                          <a:effectLst/>
                        </a:rPr>
                        <a:t>Fe,ty</a:t>
                      </a:r>
                      <a:r>
                        <a:rPr lang="de-DE" sz="1400" baseline="-25000" dirty="0">
                          <a:effectLst/>
                        </a:rPr>
                        <a:t> p.</a:t>
                      </a:r>
                      <a:r>
                        <a:rPr lang="de-DE" sz="1400" dirty="0">
                          <a:effectLst/>
                        </a:rPr>
                        <a:t> [W/kg]</a:t>
                      </a:r>
                    </a:p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100 kHz, 300mT, 100°C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60…90 </a:t>
                      </a:r>
                      <a:r>
                        <a:rPr lang="de-DE" sz="1400" dirty="0" smtClean="0">
                          <a:effectLst/>
                        </a:rPr>
                        <a:t>(VP500)</a:t>
                      </a:r>
                      <a:r>
                        <a:rPr lang="de-DE" sz="1400" dirty="0">
                          <a:effectLst/>
                        </a:rPr>
                        <a:t/>
                      </a:r>
                      <a:br>
                        <a:rPr lang="de-DE" sz="1400" dirty="0">
                          <a:effectLst/>
                        </a:rPr>
                      </a:br>
                      <a:r>
                        <a:rPr lang="de-DE" sz="1400" dirty="0" smtClean="0">
                          <a:effectLst/>
                        </a:rPr>
                        <a:t>40…50 (VP550HF)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140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765629"/>
                  </a:ext>
                </a:extLst>
              </a:tr>
              <a:tr h="776359">
                <a:tc>
                  <a:txBody>
                    <a:bodyPr/>
                    <a:lstStyle/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Saturation </a:t>
                      </a:r>
                      <a:r>
                        <a:rPr lang="de-DE" sz="1400" dirty="0" err="1">
                          <a:effectLst/>
                        </a:rPr>
                        <a:t>flux</a:t>
                      </a:r>
                      <a:r>
                        <a:rPr lang="de-DE" sz="1400" dirty="0">
                          <a:effectLst/>
                        </a:rPr>
                        <a:t> </a:t>
                      </a:r>
                      <a:r>
                        <a:rPr lang="de-DE" sz="1400" dirty="0" err="1">
                          <a:effectLst/>
                        </a:rPr>
                        <a:t>density</a:t>
                      </a:r>
                      <a:endParaRPr lang="de-DE" sz="1400" dirty="0">
                        <a:effectLst/>
                      </a:endParaRPr>
                    </a:p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 err="1">
                          <a:effectLst/>
                        </a:rPr>
                        <a:t>B</a:t>
                      </a:r>
                      <a:r>
                        <a:rPr lang="de-DE" sz="1400" baseline="-25000" dirty="0" err="1">
                          <a:effectLst/>
                        </a:rPr>
                        <a:t>s</a:t>
                      </a:r>
                      <a:r>
                        <a:rPr lang="de-DE" sz="1400" dirty="0">
                          <a:effectLst/>
                        </a:rPr>
                        <a:t> [T]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&gt; 1.2 (</a:t>
                      </a:r>
                      <a:r>
                        <a:rPr lang="de-DE" sz="1400" dirty="0" err="1">
                          <a:effectLst/>
                        </a:rPr>
                        <a:t>room</a:t>
                      </a:r>
                      <a:r>
                        <a:rPr lang="de-DE" sz="1400" dirty="0">
                          <a:effectLst/>
                        </a:rPr>
                        <a:t> </a:t>
                      </a:r>
                      <a:r>
                        <a:rPr lang="de-DE" sz="1400" dirty="0" err="1">
                          <a:effectLst/>
                        </a:rPr>
                        <a:t>temp</a:t>
                      </a:r>
                      <a:r>
                        <a:rPr lang="de-DE" sz="1400" dirty="0">
                          <a:effectLst/>
                        </a:rPr>
                        <a:t>.)</a:t>
                      </a:r>
                    </a:p>
                    <a:p>
                      <a:pPr marL="90170" algn="ctr">
                        <a:spcBef>
                          <a:spcPts val="6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ca. 1.1 (120°C)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&lt; 0.48 (</a:t>
                      </a:r>
                      <a:r>
                        <a:rPr lang="de-DE" sz="1400" dirty="0" err="1">
                          <a:effectLst/>
                        </a:rPr>
                        <a:t>room</a:t>
                      </a:r>
                      <a:r>
                        <a:rPr lang="de-DE" sz="1400" dirty="0">
                          <a:effectLst/>
                        </a:rPr>
                        <a:t> </a:t>
                      </a:r>
                      <a:r>
                        <a:rPr lang="de-DE" sz="1400" dirty="0" err="1">
                          <a:effectLst/>
                        </a:rPr>
                        <a:t>temp</a:t>
                      </a:r>
                      <a:r>
                        <a:rPr lang="de-DE" sz="1400" dirty="0">
                          <a:effectLst/>
                        </a:rPr>
                        <a:t>.)</a:t>
                      </a:r>
                    </a:p>
                    <a:p>
                      <a:pPr marL="90170" algn="ctr">
                        <a:spcBef>
                          <a:spcPts val="6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ca. 0.3 (120°C)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4709694"/>
                  </a:ext>
                </a:extLst>
              </a:tr>
              <a:tr h="274010">
                <a:tc>
                  <a:txBody>
                    <a:bodyPr/>
                    <a:lstStyle/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Initial </a:t>
                      </a:r>
                      <a:r>
                        <a:rPr lang="de-DE" sz="1400" dirty="0" err="1">
                          <a:effectLst/>
                        </a:rPr>
                        <a:t>permeability</a:t>
                      </a:r>
                      <a:r>
                        <a:rPr lang="de-DE" sz="1400" dirty="0">
                          <a:effectLst/>
                        </a:rPr>
                        <a:t> µ</a:t>
                      </a:r>
                      <a:r>
                        <a:rPr lang="de-DE" sz="1400" baseline="-25000" dirty="0">
                          <a:effectLst/>
                        </a:rPr>
                        <a:t>i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2000....200 000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10....10 000 (20000)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8454008"/>
                  </a:ext>
                </a:extLst>
              </a:tr>
              <a:tr h="812895">
                <a:tc>
                  <a:txBody>
                    <a:bodyPr/>
                    <a:lstStyle/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Saturation </a:t>
                      </a:r>
                      <a:r>
                        <a:rPr lang="de-DE" sz="1400" dirty="0" err="1">
                          <a:effectLst/>
                        </a:rPr>
                        <a:t>magnetostriction</a:t>
                      </a:r>
                      <a:endParaRPr lang="de-DE" sz="1400" dirty="0">
                        <a:effectLst/>
                      </a:endParaRPr>
                    </a:p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baseline="0" dirty="0" smtClean="0">
                          <a:effectLst/>
                          <a:sym typeface="Symbol" panose="05050102010706020507" pitchFamily="18" charset="2"/>
                        </a:rPr>
                        <a:t></a:t>
                      </a:r>
                      <a:r>
                        <a:rPr lang="de-DE" sz="1400" baseline="-25000" dirty="0" smtClean="0">
                          <a:effectLst/>
                        </a:rPr>
                        <a:t>s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37795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 smtClean="0">
                          <a:effectLst/>
                        </a:rPr>
                        <a:t>10</a:t>
                      </a:r>
                      <a:r>
                        <a:rPr lang="de-DE" sz="1400" baseline="30000" dirty="0" smtClean="0">
                          <a:effectLst/>
                        </a:rPr>
                        <a:t>-7</a:t>
                      </a:r>
                      <a:r>
                        <a:rPr lang="de-DE" sz="1400" dirty="0" smtClean="0">
                          <a:effectLst/>
                        </a:rPr>
                        <a:t> …10</a:t>
                      </a:r>
                      <a:r>
                        <a:rPr lang="de-DE" sz="1400" baseline="30000" dirty="0" smtClean="0">
                          <a:effectLst/>
                        </a:rPr>
                        <a:t>-8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10</a:t>
                      </a:r>
                      <a:r>
                        <a:rPr lang="de-DE" sz="1400" baseline="30000" dirty="0">
                          <a:effectLst/>
                        </a:rPr>
                        <a:t>-6</a:t>
                      </a:r>
                      <a:r>
                        <a:rPr lang="de-DE" sz="1400" dirty="0">
                          <a:effectLst/>
                        </a:rPr>
                        <a:t>....2×10</a:t>
                      </a:r>
                      <a:r>
                        <a:rPr lang="de-DE" sz="1400" baseline="30000" dirty="0">
                          <a:effectLst/>
                        </a:rPr>
                        <a:t>-5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01989242"/>
                  </a:ext>
                </a:extLst>
              </a:tr>
              <a:tr h="274010">
                <a:tc>
                  <a:txBody>
                    <a:bodyPr/>
                    <a:lstStyle/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Max. </a:t>
                      </a:r>
                      <a:r>
                        <a:rPr lang="de-DE" sz="1400" dirty="0" err="1">
                          <a:effectLst/>
                        </a:rPr>
                        <a:t>operating</a:t>
                      </a:r>
                      <a:r>
                        <a:rPr lang="de-DE" sz="1400" dirty="0">
                          <a:effectLst/>
                        </a:rPr>
                        <a:t> </a:t>
                      </a:r>
                      <a:r>
                        <a:rPr lang="de-DE" sz="1400" dirty="0" err="1">
                          <a:effectLst/>
                        </a:rPr>
                        <a:t>temp</a:t>
                      </a:r>
                      <a:r>
                        <a:rPr lang="de-DE" sz="1400" dirty="0">
                          <a:effectLst/>
                        </a:rPr>
                        <a:t>. T</a:t>
                      </a:r>
                      <a:r>
                        <a:rPr lang="de-DE" sz="1400" baseline="-25000" dirty="0">
                          <a:effectLst/>
                        </a:rPr>
                        <a:t>op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17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 smtClean="0"/>
                        <a:t>plastic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case</a:t>
                      </a:r>
                      <a:r>
                        <a:rPr lang="de-DE" sz="1400" dirty="0" smtClean="0"/>
                        <a:t> 130°C*</a:t>
                      </a:r>
                      <a:br>
                        <a:rPr lang="de-DE" sz="1400" dirty="0" smtClean="0"/>
                      </a:br>
                      <a:r>
                        <a:rPr lang="de-DE" sz="1400" dirty="0" err="1" smtClean="0"/>
                        <a:t>core</a:t>
                      </a:r>
                      <a:r>
                        <a:rPr lang="de-DE" sz="1400" dirty="0" smtClean="0"/>
                        <a:t> 155°C, 180°C (</a:t>
                      </a:r>
                      <a:r>
                        <a:rPr lang="de-DE" sz="1400" dirty="0" err="1" smtClean="0"/>
                        <a:t>short</a:t>
                      </a:r>
                      <a:r>
                        <a:rPr lang="de-DE" sz="1400" baseline="0" dirty="0" smtClean="0"/>
                        <a:t> time)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&lt; 100°C (120°C)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268711"/>
                  </a:ext>
                </a:extLst>
              </a:tr>
              <a:tr h="301410">
                <a:tc>
                  <a:txBody>
                    <a:bodyPr/>
                    <a:lstStyle/>
                    <a:p>
                      <a:pPr marL="90170" marR="107950" algn="ctr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de-DE" sz="1400" dirty="0">
                          <a:effectLst/>
                        </a:rPr>
                        <a:t>Curie </a:t>
                      </a:r>
                      <a:r>
                        <a:rPr lang="de-DE" sz="1400" dirty="0" err="1">
                          <a:effectLst/>
                        </a:rPr>
                        <a:t>temperature</a:t>
                      </a:r>
                      <a:r>
                        <a:rPr lang="de-DE" sz="1400" dirty="0">
                          <a:effectLst/>
                        </a:rPr>
                        <a:t> [°C]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en-GB" sz="1400" dirty="0">
                          <a:effectLst/>
                        </a:rPr>
                        <a:t>&gt; 600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de-DE" sz="1400" dirty="0">
                          <a:effectLst/>
                        </a:rPr>
                        <a:t>150…200</a:t>
                      </a:r>
                      <a:endParaRPr lang="de-DE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31515750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589817" y="819161"/>
            <a:ext cx="34451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smtClean="0">
                <a:solidFill>
                  <a:srgbClr val="FF0000"/>
                </a:solidFill>
              </a:rPr>
              <a:t>CONTENT CANNOT BE USED WITHOUT PERMISSION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646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89405" y="1192368"/>
            <a:ext cx="7175177" cy="2529887"/>
          </a:xfrm>
        </p:spPr>
        <p:txBody>
          <a:bodyPr/>
          <a:lstStyle/>
          <a:p>
            <a:r>
              <a:rPr lang="en-US" sz="2400" dirty="0" smtClean="0"/>
              <a:t>How much attenuation of noise is needed?  			</a:t>
            </a:r>
            <a:r>
              <a:rPr lang="en-US" sz="2400" b="1" dirty="0" smtClean="0"/>
              <a:t>Required impedance</a:t>
            </a:r>
          </a:p>
          <a:p>
            <a:r>
              <a:rPr lang="en-US" sz="2400" dirty="0" smtClean="0"/>
              <a:t>Over what frequency bandwidth is the noise?			</a:t>
            </a:r>
            <a:r>
              <a:rPr lang="en-US" sz="2400" b="1" dirty="0" smtClean="0"/>
              <a:t>Required frequency range</a:t>
            </a:r>
          </a:p>
          <a:p>
            <a:r>
              <a:rPr lang="en-US" sz="2400" dirty="0" smtClean="0"/>
              <a:t>How much current must it handle?				</a:t>
            </a:r>
            <a:r>
              <a:rPr lang="en-US" sz="2400" b="1" dirty="0" smtClean="0"/>
              <a:t>Required current handling</a:t>
            </a:r>
            <a:endParaRPr lang="en-US" sz="2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NECESSARY IN A CMC?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08425" y="3965507"/>
            <a:ext cx="10562641" cy="255454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 sz="3200" dirty="0" smtClean="0"/>
              <a:t>I Z I </a:t>
            </a:r>
            <a:r>
              <a:rPr lang="en-US" sz="3200" dirty="0"/>
              <a:t>and L measurement in a normal Impedance Analyzer provides the basic information to calculate permeability, power losses, etc. </a:t>
            </a:r>
            <a:endParaRPr lang="en-US" sz="3200" dirty="0" smtClean="0"/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 sz="3200" dirty="0" smtClean="0"/>
              <a:t>Proposed </a:t>
            </a:r>
            <a:r>
              <a:rPr lang="en-US" sz="3200" dirty="0"/>
              <a:t>range </a:t>
            </a:r>
            <a:r>
              <a:rPr lang="en-US" sz="3200" dirty="0" smtClean="0"/>
              <a:t>to measure is 100Hz </a:t>
            </a:r>
            <a:r>
              <a:rPr lang="en-US" sz="3200" dirty="0"/>
              <a:t>thru 100MHz (ferrites </a:t>
            </a:r>
            <a:r>
              <a:rPr lang="en-US" sz="3200" dirty="0" smtClean="0"/>
              <a:t>can’t effectively function as CMC </a:t>
            </a:r>
            <a:r>
              <a:rPr lang="en-US" sz="3200" dirty="0"/>
              <a:t>above </a:t>
            </a:r>
            <a:r>
              <a:rPr lang="en-US" sz="3200" dirty="0" smtClean="0"/>
              <a:t>2MHz without significant limitations in size, DC tolerance, temperature dependence, etc.).</a:t>
            </a:r>
            <a:endParaRPr lang="en-US" sz="3200" dirty="0"/>
          </a:p>
        </p:txBody>
      </p:sp>
      <p:sp>
        <p:nvSpPr>
          <p:cNvPr id="10" name="TextBox 9"/>
          <p:cNvSpPr txBox="1"/>
          <p:nvPr/>
        </p:nvSpPr>
        <p:spPr>
          <a:xfrm>
            <a:off x="8589817" y="819161"/>
            <a:ext cx="34451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smtClean="0">
                <a:solidFill>
                  <a:srgbClr val="FF0000"/>
                </a:solidFill>
              </a:rPr>
              <a:t>CONTENT CANNOT BE USED WITHOUT PERMISSION</a:t>
            </a:r>
            <a:endParaRPr lang="en-US" sz="1200" b="1" dirty="0">
              <a:solidFill>
                <a:srgbClr val="FF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105026"/>
            <a:ext cx="5412508" cy="2773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918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EQUENCY DEPENDENCY OF PERMEABILITY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4088" y="850714"/>
            <a:ext cx="8986350" cy="558703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897169" y="3644229"/>
            <a:ext cx="2073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/f (gyromagnetic)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4100660" y="2419928"/>
                <a:ext cx="2064469" cy="4277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1/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𝑓</m:t>
                        </m:r>
                      </m:e>
                    </m:rad>
                  </m:oMath>
                </a14:m>
                <a:r>
                  <a:rPr lang="en-US" dirty="0" smtClean="0"/>
                  <a:t> (Eddy Current)</a:t>
                </a:r>
                <a:endParaRPr lang="en-US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00660" y="2419928"/>
                <a:ext cx="2064469" cy="427746"/>
              </a:xfrm>
              <a:prstGeom prst="rect">
                <a:avLst/>
              </a:prstGeom>
              <a:blipFill>
                <a:blip r:embed="rId3"/>
                <a:stretch>
                  <a:fillRect l="-2663" b="-1857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/>
          <p:cNvSpPr txBox="1"/>
          <p:nvPr/>
        </p:nvSpPr>
        <p:spPr>
          <a:xfrm>
            <a:off x="8589817" y="819161"/>
            <a:ext cx="34451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smtClean="0">
                <a:solidFill>
                  <a:srgbClr val="FF0000"/>
                </a:solidFill>
              </a:rPr>
              <a:t>CONTENT CANNOT BE USED WITHOUT PERMISSION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808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LEX IMPEDANCE IN A CHOK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0109" y="851003"/>
            <a:ext cx="8992321" cy="577745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589817" y="819161"/>
            <a:ext cx="34451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smtClean="0">
                <a:solidFill>
                  <a:srgbClr val="FF0000"/>
                </a:solidFill>
              </a:rPr>
              <a:t>CONTENT CANNOT BE USED WITHOUT PERMISSION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223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88800" y="1317438"/>
            <a:ext cx="11563055" cy="2266271"/>
          </a:xfrm>
        </p:spPr>
        <p:txBody>
          <a:bodyPr/>
          <a:lstStyle/>
          <a:p>
            <a:r>
              <a:rPr lang="en-US" b="1" dirty="0" smtClean="0"/>
              <a:t>L (10 kHz) </a:t>
            </a:r>
            <a:r>
              <a:rPr lang="en-US" dirty="0" smtClean="0">
                <a:sym typeface="Wingdings" panose="05000000000000000000" pitchFamily="2" charset="2"/>
              </a:rPr>
              <a:t> comparison with ferrite</a:t>
            </a:r>
            <a:endParaRPr lang="en-US" dirty="0" smtClean="0"/>
          </a:p>
          <a:p>
            <a:r>
              <a:rPr lang="en-US" b="1" dirty="0" smtClean="0"/>
              <a:t>L (100 kHz) </a:t>
            </a:r>
            <a:r>
              <a:rPr lang="en-US" dirty="0" smtClean="0">
                <a:sym typeface="Wingdings" panose="05000000000000000000" pitchFamily="2" charset="2"/>
              </a:rPr>
              <a:t> real focus for the application</a:t>
            </a:r>
            <a:endParaRPr lang="en-US" dirty="0" smtClean="0"/>
          </a:p>
          <a:p>
            <a:r>
              <a:rPr lang="en-US" dirty="0" smtClean="0"/>
              <a:t>I</a:t>
            </a:r>
            <a:r>
              <a:rPr lang="en-US" b="1" dirty="0" smtClean="0"/>
              <a:t>Z</a:t>
            </a:r>
            <a:r>
              <a:rPr lang="en-US" dirty="0" smtClean="0"/>
              <a:t>I</a:t>
            </a:r>
            <a:r>
              <a:rPr lang="en-US" b="1" dirty="0" smtClean="0"/>
              <a:t> </a:t>
            </a:r>
            <a:r>
              <a:rPr lang="en-US" b="1" dirty="0" smtClean="0"/>
              <a:t>(f) </a:t>
            </a:r>
            <a:r>
              <a:rPr lang="en-US" dirty="0" smtClean="0">
                <a:sym typeface="Wingdings" panose="05000000000000000000" pitchFamily="2" charset="2"/>
              </a:rPr>
              <a:t> insertion loss can be calculated</a:t>
            </a:r>
            <a:endParaRPr lang="en-US" dirty="0" smtClean="0"/>
          </a:p>
          <a:p>
            <a:r>
              <a:rPr lang="en-US" b="1" dirty="0" smtClean="0"/>
              <a:t>Ls</a:t>
            </a:r>
            <a:r>
              <a:rPr lang="en-US" dirty="0" smtClean="0"/>
              <a:t> (Leakage inductance) </a:t>
            </a:r>
            <a:r>
              <a:rPr lang="en-US" dirty="0" smtClean="0">
                <a:sym typeface="Wingdings" panose="05000000000000000000" pitchFamily="2" charset="2"/>
              </a:rPr>
              <a:t> interesting to understand the DM attenuation (usually better in ferrites</a:t>
            </a:r>
            <a:r>
              <a:rPr lang="en-US" dirty="0" smtClean="0">
                <a:sym typeface="Wingdings" panose="05000000000000000000" pitchFamily="2" charset="2"/>
              </a:rPr>
              <a:t>)</a:t>
            </a:r>
            <a:endParaRPr lang="en-US" dirty="0" smtClean="0"/>
          </a:p>
          <a:p>
            <a:r>
              <a:rPr lang="en-US" b="1" dirty="0" err="1" smtClean="0"/>
              <a:t>I</a:t>
            </a:r>
            <a:r>
              <a:rPr lang="en-US" b="1" baseline="-25000" dirty="0" err="1" smtClean="0"/>
              <a:t>unbal</a:t>
            </a:r>
            <a:r>
              <a:rPr lang="en-US" b="1" dirty="0" smtClean="0"/>
              <a:t> (DC, 10kHz, 100kHz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 RECOMMENDATION (PART 1)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600" y="3319341"/>
            <a:ext cx="6733309" cy="310662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14036" y="835529"/>
            <a:ext cx="11120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VAC recommendation is to measure IZI (complex impedance) and L (inductance) between 100Hz and 100 MHz</a:t>
            </a:r>
            <a:endParaRPr lang="en-US" sz="20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9905999" y="4872654"/>
            <a:ext cx="1638582" cy="92333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dirty="0" err="1" smtClean="0"/>
              <a:t>Extracted</a:t>
            </a:r>
            <a:r>
              <a:rPr lang="es-ES" dirty="0" smtClean="0"/>
              <a:t> </a:t>
            </a:r>
            <a:r>
              <a:rPr lang="es-ES" dirty="0" err="1" smtClean="0"/>
              <a:t>from</a:t>
            </a:r>
            <a:r>
              <a:rPr lang="es-ES" dirty="0" smtClean="0"/>
              <a:t> </a:t>
            </a:r>
            <a:r>
              <a:rPr lang="es-ES" dirty="0" err="1" smtClean="0"/>
              <a:t>an</a:t>
            </a:r>
            <a:r>
              <a:rPr lang="es-ES" dirty="0" smtClean="0"/>
              <a:t> </a:t>
            </a:r>
            <a:r>
              <a:rPr lang="es-ES" dirty="0" err="1" smtClean="0"/>
              <a:t>existing</a:t>
            </a:r>
            <a:r>
              <a:rPr lang="es-ES" dirty="0" smtClean="0"/>
              <a:t> </a:t>
            </a:r>
            <a:r>
              <a:rPr lang="es-ES" dirty="0" smtClean="0"/>
              <a:t>VAC </a:t>
            </a:r>
            <a:r>
              <a:rPr lang="es-ES" dirty="0" err="1" smtClean="0"/>
              <a:t>datasheet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 flipH="1" flipV="1">
            <a:off x="9077035" y="5315847"/>
            <a:ext cx="618837" cy="184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645235" y="1173523"/>
            <a:ext cx="34451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smtClean="0">
                <a:solidFill>
                  <a:srgbClr val="FF0000"/>
                </a:solidFill>
              </a:rPr>
              <a:t>CONTENT CANNOT BE USED WITHOUT PERMISSION</a:t>
            </a:r>
            <a:endParaRPr lang="en-US" sz="1200" b="1" dirty="0">
              <a:solidFill>
                <a:srgbClr val="FF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5999" y="2493806"/>
            <a:ext cx="2334970" cy="2341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601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89405" y="911038"/>
            <a:ext cx="6797091" cy="467366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he graph L vs DC current bias must be as rectangular as possible (optimized performance). This graph helps calculate permeability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 RECOMMENDATION (PART 2)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503" y="1732290"/>
            <a:ext cx="7197170" cy="485329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8096771" y="1188436"/>
                <a:ext cx="3836611" cy="26523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15000"/>
                  </a:lnSpc>
                  <a:spcBef>
                    <a:spcPts val="300"/>
                  </a:spcBef>
                </a:pPr>
                <a:r>
                  <a:rPr lang="en-US" dirty="0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With</a:t>
                </a:r>
              </a:p>
              <a:p>
                <a:pPr marL="360045" marR="0" algn="just">
                  <a:lnSpc>
                    <a:spcPct val="115000"/>
                  </a:lnSpc>
                  <a:spcBef>
                    <a:spcPts val="300"/>
                  </a:spcBef>
                  <a:spcAft>
                    <a:spcPts val="0"/>
                  </a:spcAft>
                </a:pPr>
                <a:r>
                  <a:rPr lang="en-US" dirty="0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L=Inductance</a:t>
                </a:r>
              </a:p>
              <a:p>
                <a:pPr marL="360045" marR="0" algn="just">
                  <a:lnSpc>
                    <a:spcPct val="115000"/>
                  </a:lnSpc>
                  <a:spcBef>
                    <a:spcPts val="300"/>
                  </a:spcBef>
                  <a:spcAft>
                    <a:spcPts val="0"/>
                  </a:spcAft>
                </a:pPr>
                <a:r>
                  <a:rPr lang="en-US" dirty="0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N=Number of turns</a:t>
                </a:r>
              </a:p>
              <a:p>
                <a:pPr marL="360045" marR="0" algn="just">
                  <a:lnSpc>
                    <a:spcPct val="115000"/>
                  </a:lnSpc>
                  <a:spcBef>
                    <a:spcPts val="300"/>
                  </a:spcBef>
                  <a:spcAft>
                    <a:spcPts val="0"/>
                  </a:spcAft>
                </a:pPr>
                <a:r>
                  <a:rPr lang="en-US" dirty="0" err="1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l</a:t>
                </a:r>
                <a:r>
                  <a:rPr lang="en-US" baseline="-25000" dirty="0" err="1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Fe</a:t>
                </a:r>
                <a:r>
                  <a:rPr lang="en-US" dirty="0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=Iron path length</a:t>
                </a:r>
              </a:p>
              <a:p>
                <a:pPr marL="360045" marR="0" algn="just">
                  <a:lnSpc>
                    <a:spcPct val="115000"/>
                  </a:lnSpc>
                  <a:spcBef>
                    <a:spcPts val="300"/>
                  </a:spcBef>
                  <a:spcAft>
                    <a:spcPts val="0"/>
                  </a:spcAft>
                </a:pPr>
                <a:r>
                  <a:rPr lang="en-US" dirty="0" err="1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A</a:t>
                </a:r>
                <a:r>
                  <a:rPr lang="en-US" baseline="-25000" dirty="0" err="1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Fe</a:t>
                </a:r>
                <a:r>
                  <a:rPr lang="en-US" dirty="0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=Iron cross section</a:t>
                </a:r>
              </a:p>
              <a:p>
                <a:pPr algn="just">
                  <a:lnSpc>
                    <a:spcPct val="115000"/>
                  </a:lnSpc>
                  <a:spcBef>
                    <a:spcPts val="300"/>
                  </a:spcBef>
                </a:pPr>
                <a:r>
                  <a:rPr lang="en-US" dirty="0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you </a:t>
                </a:r>
                <a:r>
                  <a:rPr lang="en-US" dirty="0" smtClean="0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get</a:t>
                </a:r>
                <a:r>
                  <a:rPr lang="en-US" dirty="0"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:	</a:t>
                </a:r>
                <a14:m>
                  <m:oMath xmlns:m="http://schemas.openxmlformats.org/officeDocument/2006/math">
                    <m:r>
                      <a:rPr lang="en-US" sz="2800" i="1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µ′=</m:t>
                    </m:r>
                    <m:f>
                      <m:fPr>
                        <m:ctrlPr>
                          <a:rPr lang="en-US" sz="2800" i="1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de-DE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  <m:t>𝑙</m:t>
                            </m:r>
                          </m:e>
                          <m:sub>
                            <m:r>
                              <a:rPr lang="de-DE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  <m:t>𝐹𝑒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  <m:t>µ</m:t>
                            </m:r>
                          </m:e>
                          <m:sub>
                            <m:r>
                              <a:rPr lang="de-DE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  <m:t>𝑜</m:t>
                            </m:r>
                          </m:sub>
                        </m:sSub>
                        <m:r>
                          <a:rPr lang="en-US" sz="2800" i="1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∙</m:t>
                        </m:r>
                        <m:sSub>
                          <m:sSubPr>
                            <m:ctrlP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de-DE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  <m:t>𝐹𝑒</m:t>
                            </m:r>
                          </m:sub>
                        </m:sSub>
                      </m:den>
                    </m:f>
                    <m:r>
                      <a:rPr lang="en-US" sz="2800" i="1">
                        <a:effectLst/>
                        <a:latin typeface="Cambria Math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rPr>
                      <m:t>∙</m:t>
                    </m:r>
                    <m:f>
                      <m:fPr>
                        <m:ctrlPr>
                          <a:rPr lang="en-US" sz="2800" i="1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de-DE" sz="2800" i="1">
                            <a:effectLst/>
                            <a:latin typeface="Cambria Math" panose="02040503050406030204" pitchFamily="18" charset="0"/>
                            <a:ea typeface="SimSun" panose="02010600030101010101" pitchFamily="2" charset="-122"/>
                            <a:cs typeface="Arial" panose="020B0604020202020204" pitchFamily="34" charset="0"/>
                          </a:rPr>
                          <m:t>𝐿</m:t>
                        </m:r>
                      </m:num>
                      <m:den>
                        <m:sSup>
                          <m:sSupPr>
                            <m:ctrlP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</m:ctrlPr>
                          </m:sSupPr>
                          <m:e>
                            <m:r>
                              <a:rPr lang="de-DE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  <m:t>𝑁</m:t>
                            </m:r>
                          </m:e>
                          <m:sup>
                            <m:r>
                              <a:rPr lang="en-US" sz="2800" i="1">
                                <a:effectLst/>
                                <a:latin typeface="Cambria Math" panose="02040503050406030204" pitchFamily="18" charset="0"/>
                                <a:ea typeface="SimSun" panose="02010600030101010101" pitchFamily="2" charset="-122"/>
                                <a:cs typeface="Arial" panose="020B0604020202020204" pitchFamily="34" charset="0"/>
                              </a:rPr>
                              <m:t>2</m:t>
                            </m:r>
                          </m:sup>
                        </m:sSup>
                      </m:den>
                    </m:f>
                  </m:oMath>
                </a14:m>
                <a:endParaRPr lang="en-US" dirty="0"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96771" y="1188436"/>
                <a:ext cx="3836611" cy="2652329"/>
              </a:xfrm>
              <a:prstGeom prst="rect">
                <a:avLst/>
              </a:prstGeom>
              <a:blipFill>
                <a:blip r:embed="rId3"/>
                <a:stretch>
                  <a:fillRect l="-1270" t="-6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/>
          <p:cNvSpPr txBox="1"/>
          <p:nvPr/>
        </p:nvSpPr>
        <p:spPr>
          <a:xfrm>
            <a:off x="7952510" y="5172797"/>
            <a:ext cx="3980872" cy="1200329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ES" sz="2400" dirty="0" err="1" smtClean="0"/>
              <a:t>Maximum</a:t>
            </a:r>
            <a:r>
              <a:rPr lang="es-ES" sz="2400" dirty="0" smtClean="0"/>
              <a:t> </a:t>
            </a:r>
            <a:r>
              <a:rPr lang="es-ES" sz="2400" dirty="0" err="1" smtClean="0"/>
              <a:t>common</a:t>
            </a:r>
            <a:r>
              <a:rPr lang="es-ES" sz="2400" dirty="0" smtClean="0"/>
              <a:t> </a:t>
            </a:r>
            <a:r>
              <a:rPr lang="es-ES" sz="2400" dirty="0" err="1" smtClean="0"/>
              <a:t>mode</a:t>
            </a:r>
            <a:r>
              <a:rPr lang="es-ES" sz="2400" dirty="0" smtClean="0"/>
              <a:t> </a:t>
            </a:r>
            <a:r>
              <a:rPr lang="es-ES" sz="2400" dirty="0" err="1" smtClean="0"/>
              <a:t>current</a:t>
            </a:r>
            <a:r>
              <a:rPr lang="es-ES" sz="2400" dirty="0" smtClean="0"/>
              <a:t> can be </a:t>
            </a:r>
            <a:r>
              <a:rPr lang="es-ES" sz="2400" dirty="0" err="1" smtClean="0"/>
              <a:t>calculated</a:t>
            </a:r>
            <a:r>
              <a:rPr lang="es-ES" sz="2400" dirty="0" smtClean="0"/>
              <a:t> </a:t>
            </a:r>
            <a:r>
              <a:rPr lang="es-ES" sz="2400" dirty="0" err="1" smtClean="0"/>
              <a:t>from</a:t>
            </a:r>
            <a:r>
              <a:rPr lang="es-ES" sz="2400" dirty="0" smtClean="0"/>
              <a:t> 70% of </a:t>
            </a:r>
            <a:r>
              <a:rPr lang="es-ES" sz="2400" dirty="0" err="1" smtClean="0"/>
              <a:t>value</a:t>
            </a:r>
            <a:r>
              <a:rPr lang="es-ES" sz="2400" dirty="0" smtClean="0"/>
              <a:t> at (</a:t>
            </a:r>
            <a:r>
              <a:rPr lang="es-ES" sz="2400" dirty="0" err="1" smtClean="0"/>
              <a:t>Idc</a:t>
            </a:r>
            <a:r>
              <a:rPr lang="es-ES" sz="2400" dirty="0" smtClean="0"/>
              <a:t> = 0</a:t>
            </a:r>
            <a:r>
              <a:rPr lang="es-ES" dirty="0" smtClean="0"/>
              <a:t>)</a:t>
            </a:r>
            <a:endParaRPr lang="en-US" dirty="0"/>
          </a:p>
        </p:txBody>
      </p:sp>
      <p:sp>
        <p:nvSpPr>
          <p:cNvPr id="6" name="Curved Up Arrow 5"/>
          <p:cNvSpPr/>
          <p:nvPr/>
        </p:nvSpPr>
        <p:spPr>
          <a:xfrm rot="14661286">
            <a:off x="7719642" y="3880369"/>
            <a:ext cx="1729566" cy="818387"/>
          </a:xfrm>
          <a:prstGeom prst="curvedUpArrow">
            <a:avLst/>
          </a:prstGeom>
          <a:solidFill>
            <a:schemeClr val="accent1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589817" y="819161"/>
            <a:ext cx="34451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smtClean="0">
                <a:solidFill>
                  <a:srgbClr val="FF0000"/>
                </a:solidFill>
              </a:rPr>
              <a:t>CONTENT CANNOT BE USED WITHOUT PERMISSION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558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 RECOMMENDATION (PART 3)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89404" y="722953"/>
            <a:ext cx="10581661" cy="368142"/>
          </a:xfrm>
        </p:spPr>
        <p:txBody>
          <a:bodyPr/>
          <a:lstStyle/>
          <a:p>
            <a:r>
              <a:rPr lang="en-US" dirty="0" smtClean="0"/>
              <a:t>Further recommendations to </a:t>
            </a:r>
            <a:r>
              <a:rPr lang="en-US" dirty="0" smtClean="0"/>
              <a:t>specify </a:t>
            </a:r>
            <a:r>
              <a:rPr lang="en-US" dirty="0" smtClean="0"/>
              <a:t>a </a:t>
            </a:r>
            <a:r>
              <a:rPr lang="en-US" smtClean="0"/>
              <a:t>superior </a:t>
            </a:r>
            <a:r>
              <a:rPr lang="en-US" smtClean="0"/>
              <a:t>solution…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32091" y="1069313"/>
            <a:ext cx="4795692" cy="5479269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 smtClean="0"/>
              <a:t>Include a tighter tolerance +/- 6%: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b="1" dirty="0" smtClean="0"/>
              <a:t>For core weight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b="1" dirty="0" smtClean="0"/>
              <a:t>For </a:t>
            </a:r>
            <a:r>
              <a:rPr lang="en-US" b="1" dirty="0" err="1" smtClean="0"/>
              <a:t>A</a:t>
            </a:r>
            <a:r>
              <a:rPr lang="en-US" b="1" baseline="-25000" dirty="0" err="1" smtClean="0"/>
              <a:t>fe</a:t>
            </a:r>
            <a:endParaRPr lang="en-US" b="1" baseline="-25000" dirty="0" smtClean="0"/>
          </a:p>
          <a:p>
            <a:pPr marL="725488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The purpose is to reduce the scattering of the filling factor and tight the inductance range.</a:t>
            </a:r>
          </a:p>
          <a:p>
            <a:pPr marL="725488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n excellent CMC should be able to reach higher DC tolerances for the same amount of material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The narrower the temperature dependency of the magnetic characteristics, the better performance the CMC will show across the temperature range. </a:t>
            </a:r>
            <a:r>
              <a:rPr lang="en-US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Interesting hint </a:t>
            </a:r>
            <a:r>
              <a:rPr lang="en-US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for </a:t>
            </a:r>
            <a:r>
              <a:rPr lang="en-US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the designer to make a good selection.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Left-Up Arrow 6"/>
          <p:cNvSpPr/>
          <p:nvPr/>
        </p:nvSpPr>
        <p:spPr>
          <a:xfrm rot="5400000">
            <a:off x="4458398" y="5026825"/>
            <a:ext cx="727848" cy="1554639"/>
          </a:xfrm>
          <a:prstGeom prst="leftUpArrow">
            <a:avLst>
              <a:gd name="adj1" fmla="val 25000"/>
              <a:gd name="adj2" fmla="val 25000"/>
              <a:gd name="adj3" fmla="val 2727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9642" y="2606480"/>
            <a:ext cx="6156160" cy="394210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589817" y="819161"/>
            <a:ext cx="34451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smtClean="0">
                <a:solidFill>
                  <a:srgbClr val="FF0000"/>
                </a:solidFill>
              </a:rPr>
              <a:t>CONTENT CANNOT BE USED WITHOUT PERMISSION</a:t>
            </a:r>
            <a:endParaRPr lang="en-US" sz="1200" b="1" dirty="0">
              <a:solidFill>
                <a:srgbClr val="FF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3377" y="819161"/>
            <a:ext cx="2184075" cy="1837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47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92670734257100040310E+00&quot;&gt;&lt;m_msothmcolidx val=&quot;0&quot;/&gt;&lt;m_rgb r=&quot;FD&quot; g=&quot;82&quot; b=&quot;06&quot;/&gt;&lt;m_nBrightness endver=&quot;26206&quot; val=&quot;0&quot;/&gt;&lt;/elem&gt;&lt;elem m_fUsage=&quot;2.58702992910000029170E+00&quot;&gt;&lt;m_msothmcolidx val=&quot;0&quot;/&gt;&lt;m_rgb r=&quot;BF&quot; g=&quot;38&quot; b=&quot;18&quot;/&gt;&lt;m_nBrightness endver=&quot;26206&quot; val=&quot;0&quot;/&gt;&lt;/elem&gt;&lt;elem m_fUsage=&quot;1.94439690000000009462E+00&quot;&gt;&lt;m_msothmcolidx val=&quot;0&quot;/&gt;&lt;m_rgb r=&quot;25&quot; g=&quot;46&quot; b=&quot;67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9V.AstRKa6TDWIDrq2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ozFY0bRPy8cQ7AfBJw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HFqHarShS4dAOfNny1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c6qeTJSC2SQZEzHIwJ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7Ed8hwQ06Ymf1Vt38Y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I4DbLR4qC6LF4urlnf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COVERLOGO"/>
  <p:tag name="IGNOREFONTNONCOMPLIANCE" val="0"/>
  <p:tag name="FONTNAME" val="Arial"/>
  <p:tag name="FONTSIZE" val="13"/>
  <p:tag name="FONTBOLD" val="0"/>
  <p:tag name="FONTITALIC" val="0"/>
  <p:tag name="FONTULINE" val="0"/>
  <p:tag name="FONTSHADOW" val="0"/>
  <p:tag name="FONTALIGNMENT" val="2"/>
  <p:tag name="FONTCOLOR" val="0"/>
  <p:tag name="FONT_COLOR_TYPE" val="1"/>
  <p:tag name="FONT_COLOR_SCHEME_INDEX" val="0"/>
  <p:tag name="IGNORECOLORLINESNONCOMPLIANCE" val="0"/>
  <p:tag name="FILLVISIBLE" val="0"/>
  <p:tag name="FILLCOLOR" val="16777215"/>
  <p:tag name="FILL_COLOR_SCHEME_INDEX" val="0"/>
  <p:tag name="FILL_COLOR_TYPE" val="1"/>
  <p:tag name="FILLCOLORING" val="No Fill"/>
  <p:tag name="LINEVISIBLE" val="-1"/>
  <p:tag name="LINECOLOR" val="15707648"/>
  <p:tag name="LINE_COLOR_SCHEME_INDEX" val="0"/>
  <p:tag name="LINE_COLOR_TYPE" val="1"/>
  <p:tag name="IGNOREPOSITIONNONCOMPLIANCE" val="0"/>
  <p:tag name="POSITIONTOP" val="79.625"/>
  <p:tag name="POSITIONLEFT" val="521.496"/>
  <p:tag name="IGNORESIZENONCOMPLIANCE" val="0"/>
  <p:tag name="SIZEWIDTH" val="216"/>
  <p:tag name="SIZEHEIGHT" val="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g_eLr1RsWeslieIdtR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y0XWEiSYm5OdrV0wcN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jIA.WT2Kd8N2ps3BH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g_eLr1RsWeslieIdtRi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WXyhHpSdS5fr3j3k4O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9V.AstRKa6TDWIDrq2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ozFY0bRPy8cQ7AfBJw2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HFqHarShS4dAOfNny1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c6qeTJSC2SQZEzHIwJ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7Ed8hwQ06Ymf1Vt38Y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y0XWEiSYm5OdrV0wcN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jIA.WT2Kd8N2ps3BH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WXyhHpSdS5fr3j3k4Ofw"/>
</p:tagLst>
</file>

<file path=ppt/theme/theme1.xml><?xml version="1.0" encoding="utf-8"?>
<a:theme xmlns:a="http://schemas.openxmlformats.org/drawingml/2006/main" name="Office">
  <a:themeElements>
    <a:clrScheme name="VAC Master">
      <a:dk1>
        <a:sysClr val="windowText" lastClr="000000"/>
      </a:dk1>
      <a:lt1>
        <a:sysClr val="window" lastClr="FFFFFF"/>
      </a:lt1>
      <a:dk2>
        <a:srgbClr val="004061"/>
      </a:dk2>
      <a:lt2>
        <a:srgbClr val="E7E6E6"/>
      </a:lt2>
      <a:accent1>
        <a:srgbClr val="004061"/>
      </a:accent1>
      <a:accent2>
        <a:srgbClr val="67829C"/>
      </a:accent2>
      <a:accent3>
        <a:srgbClr val="C2CDD7"/>
      </a:accent3>
      <a:accent4>
        <a:srgbClr val="326EA0"/>
      </a:accent4>
      <a:accent5>
        <a:srgbClr val="508CB4"/>
      </a:accent5>
      <a:accent6>
        <a:srgbClr val="AFC8D7"/>
      </a:accent6>
      <a:hlink>
        <a:srgbClr val="0070C0"/>
      </a:hlink>
      <a:folHlink>
        <a:srgbClr val="954F72"/>
      </a:folHlink>
    </a:clrScheme>
    <a:fontScheme name="Benutzerdefiniert 1">
      <a:majorFont>
        <a:latin typeface="Calibri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VAC Master">
      <a:dk1>
        <a:sysClr val="windowText" lastClr="000000"/>
      </a:dk1>
      <a:lt1>
        <a:sysClr val="window" lastClr="FFFFFF"/>
      </a:lt1>
      <a:dk2>
        <a:srgbClr val="004061"/>
      </a:dk2>
      <a:lt2>
        <a:srgbClr val="E7E6E6"/>
      </a:lt2>
      <a:accent1>
        <a:srgbClr val="004061"/>
      </a:accent1>
      <a:accent2>
        <a:srgbClr val="67829C"/>
      </a:accent2>
      <a:accent3>
        <a:srgbClr val="C2CDD7"/>
      </a:accent3>
      <a:accent4>
        <a:srgbClr val="326EA0"/>
      </a:accent4>
      <a:accent5>
        <a:srgbClr val="508CB4"/>
      </a:accent5>
      <a:accent6>
        <a:srgbClr val="AFC8D7"/>
      </a:accent6>
      <a:hlink>
        <a:srgbClr val="0070C0"/>
      </a:hlink>
      <a:folHlink>
        <a:srgbClr val="954F72"/>
      </a:folHlink>
    </a:clrScheme>
    <a:fontScheme name="Benutzerdefiniert 1">
      <a:majorFont>
        <a:latin typeface="Calibri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arclays PresBuilder">
  <a:themeElements>
    <a:clrScheme name="Magneto">
      <a:dk1>
        <a:srgbClr val="000000"/>
      </a:dk1>
      <a:lt1>
        <a:srgbClr val="FFFFFF"/>
      </a:lt1>
      <a:dk2>
        <a:srgbClr val="00395C"/>
      </a:dk2>
      <a:lt2>
        <a:srgbClr val="FFFFFF"/>
      </a:lt2>
      <a:accent1>
        <a:srgbClr val="67829C"/>
      </a:accent1>
      <a:accent2>
        <a:srgbClr val="C2CDD7"/>
      </a:accent2>
      <a:accent3>
        <a:srgbClr val="004061"/>
      </a:accent3>
      <a:accent4>
        <a:srgbClr val="18AD4B"/>
      </a:accent4>
      <a:accent5>
        <a:srgbClr val="79C179"/>
      </a:accent5>
      <a:accent6>
        <a:srgbClr val="3E296D"/>
      </a:accent6>
      <a:hlink>
        <a:srgbClr val="7F6EA5"/>
      </a:hlink>
      <a:folHlink>
        <a:srgbClr val="D75A4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rIns="0" rtlCol="0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</a:theme>
</file>

<file path=ppt/theme/theme4.xml><?xml version="1.0" encoding="utf-8"?>
<a:theme xmlns:a="http://schemas.openxmlformats.org/drawingml/2006/main" name="2_Office">
  <a:themeElements>
    <a:clrScheme name="VAC Master">
      <a:dk1>
        <a:sysClr val="windowText" lastClr="000000"/>
      </a:dk1>
      <a:lt1>
        <a:sysClr val="window" lastClr="FFFFFF"/>
      </a:lt1>
      <a:dk2>
        <a:srgbClr val="004061"/>
      </a:dk2>
      <a:lt2>
        <a:srgbClr val="E7E6E6"/>
      </a:lt2>
      <a:accent1>
        <a:srgbClr val="004061"/>
      </a:accent1>
      <a:accent2>
        <a:srgbClr val="67829C"/>
      </a:accent2>
      <a:accent3>
        <a:srgbClr val="C2CDD7"/>
      </a:accent3>
      <a:accent4>
        <a:srgbClr val="326EA0"/>
      </a:accent4>
      <a:accent5>
        <a:srgbClr val="508CB4"/>
      </a:accent5>
      <a:accent6>
        <a:srgbClr val="AFC8D7"/>
      </a:accent6>
      <a:hlink>
        <a:srgbClr val="0070C0"/>
      </a:hlink>
      <a:folHlink>
        <a:srgbClr val="954F72"/>
      </a:folHlink>
    </a:clrScheme>
    <a:fontScheme name="Benutzerdefiniert 1">
      <a:majorFont>
        <a:latin typeface="Calibri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9</Words>
  <Application>Microsoft Office PowerPoint</Application>
  <PresentationFormat>Widescreen</PresentationFormat>
  <Paragraphs>81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4" baseType="lpstr">
      <vt:lpstr>ＭＳ Ｐゴシック</vt:lpstr>
      <vt:lpstr>SimSun</vt:lpstr>
      <vt:lpstr>Arial</vt:lpstr>
      <vt:lpstr>Arial Narrow</vt:lpstr>
      <vt:lpstr>Calibri</vt:lpstr>
      <vt:lpstr>Cambria Math</vt:lpstr>
      <vt:lpstr>Symbol</vt:lpstr>
      <vt:lpstr>Times New Roman</vt:lpstr>
      <vt:lpstr>Wingdings</vt:lpstr>
      <vt:lpstr>Wingdings 2</vt:lpstr>
      <vt:lpstr>Wingdings 3</vt:lpstr>
      <vt:lpstr>Office</vt:lpstr>
      <vt:lpstr>1_Office</vt:lpstr>
      <vt:lpstr>Barclays PresBuilder</vt:lpstr>
      <vt:lpstr>2_Office</vt:lpstr>
      <vt:lpstr>think-cell Slide</vt:lpstr>
      <vt:lpstr>TESTING &amp; STANDARDIZATION PANEL SESSION: SPEC PROPOSAL FOR NANOCRYSTALLINE CMC </vt:lpstr>
      <vt:lpstr>NANOCRYSTALLINE IS THE MATERIAL FOR FUTURE ELECTRIFICATION</vt:lpstr>
      <vt:lpstr>WHAT’S NECESSARY IN A CMC?</vt:lpstr>
      <vt:lpstr>FREQUENCY DEPENDENCY OF PERMEABILITY</vt:lpstr>
      <vt:lpstr>COMPLEX IMPEDANCE IN A CHOKE</vt:lpstr>
      <vt:lpstr>SPEC RECOMMENDATION (PART 1)</vt:lpstr>
      <vt:lpstr>SPEC RECOMMENDATION (PART 2)</vt:lpstr>
      <vt:lpstr>SPEC RECOMMENDATION (PART 3)</vt:lpstr>
    </vt:vector>
  </TitlesOfParts>
  <Company>VA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ericas ITAR Compliance Plan  Jeremy Martin , GM Americas</dc:title>
  <dc:creator>Martin, Jeremy</dc:creator>
  <cp:lastModifiedBy>Gato, Jose</cp:lastModifiedBy>
  <cp:revision>3494</cp:revision>
  <cp:lastPrinted>2023-04-26T12:03:07Z</cp:lastPrinted>
  <dcterms:created xsi:type="dcterms:W3CDTF">2019-03-19T12:22:28Z</dcterms:created>
  <dcterms:modified xsi:type="dcterms:W3CDTF">2023-08-17T01:47:36Z</dcterms:modified>
</cp:coreProperties>
</file>